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</p:sldMasterIdLst>
  <p:notesMasterIdLst>
    <p:notesMasterId r:id="rId34"/>
  </p:notesMasterIdLst>
  <p:handoutMasterIdLst>
    <p:handoutMasterId r:id="rId35"/>
  </p:handoutMasterIdLst>
  <p:sldIdLst>
    <p:sldId id="256" r:id="rId5"/>
    <p:sldId id="266" r:id="rId6"/>
    <p:sldId id="405" r:id="rId7"/>
    <p:sldId id="2147483623" r:id="rId8"/>
    <p:sldId id="413" r:id="rId9"/>
    <p:sldId id="2147483626" r:id="rId10"/>
    <p:sldId id="411" r:id="rId11"/>
    <p:sldId id="2147483644" r:id="rId12"/>
    <p:sldId id="259" r:id="rId13"/>
    <p:sldId id="406" r:id="rId14"/>
    <p:sldId id="2147483629" r:id="rId15"/>
    <p:sldId id="2147483645" r:id="rId16"/>
    <p:sldId id="428" r:id="rId17"/>
    <p:sldId id="2147483631" r:id="rId18"/>
    <p:sldId id="357" r:id="rId19"/>
    <p:sldId id="2147483641" r:id="rId20"/>
    <p:sldId id="2147483640" r:id="rId21"/>
    <p:sldId id="430" r:id="rId22"/>
    <p:sldId id="408" r:id="rId23"/>
    <p:sldId id="2147483632" r:id="rId24"/>
    <p:sldId id="258" r:id="rId25"/>
    <p:sldId id="273" r:id="rId26"/>
    <p:sldId id="265" r:id="rId27"/>
    <p:sldId id="409" r:id="rId28"/>
    <p:sldId id="264" r:id="rId29"/>
    <p:sldId id="257" r:id="rId30"/>
    <p:sldId id="270" r:id="rId31"/>
    <p:sldId id="302" r:id="rId32"/>
    <p:sldId id="2147483643" r:id="rId33"/>
  </p:sldIdLst>
  <p:sldSz cx="12192000" cy="6858000"/>
  <p:notesSz cx="6858000" cy="9144000"/>
  <p:embeddedFontLst>
    <p:embeddedFont>
      <p:font typeface="Innogy" panose="020B0503040000020003" pitchFamily="34" charset="0"/>
      <p:regular r:id="rId36"/>
      <p:bold r:id="rId37"/>
      <p:italic r:id="rId38"/>
      <p:boldItalic r:id="rId39"/>
    </p:embeddedFont>
    <p:embeddedFont>
      <p:font typeface="Innogy Medium" panose="020B0603040000020003" pitchFamily="34" charset="0"/>
      <p:regular r:id="rId40"/>
      <p:italic r:id="rId41"/>
    </p:embeddedFont>
    <p:embeddedFont>
      <p:font typeface="MS PGothic" panose="020B0600070205080204" pitchFamily="34" charset="-128"/>
      <p:regular r:id="rId42"/>
    </p:embeddedFont>
    <p:embeddedFont>
      <p:font typeface="Ubuntu" panose="020B0504030602030204" pitchFamily="34" charset="0"/>
      <p:regular r:id="rId43"/>
      <p:bold r:id="rId44"/>
      <p:italic r:id="rId45"/>
      <p:boldItalic r:id="rId46"/>
    </p:embeddedFont>
  </p:embeddedFontLst>
  <p:custDataLst>
    <p:tags r:id="rId4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layouts" id="{6D3BDB2A-31C1-4FEC-ACB5-40A8E791576C}">
          <p14:sldIdLst>
            <p14:sldId id="256"/>
            <p14:sldId id="266"/>
            <p14:sldId id="405"/>
            <p14:sldId id="2147483623"/>
            <p14:sldId id="413"/>
            <p14:sldId id="2147483626"/>
            <p14:sldId id="411"/>
            <p14:sldId id="2147483644"/>
            <p14:sldId id="259"/>
            <p14:sldId id="406"/>
            <p14:sldId id="2147483629"/>
            <p14:sldId id="2147483645"/>
            <p14:sldId id="428"/>
            <p14:sldId id="2147483631"/>
            <p14:sldId id="357"/>
            <p14:sldId id="2147483641"/>
            <p14:sldId id="2147483640"/>
            <p14:sldId id="430"/>
            <p14:sldId id="408"/>
            <p14:sldId id="2147483632"/>
            <p14:sldId id="258"/>
            <p14:sldId id="273"/>
            <p14:sldId id="265"/>
            <p14:sldId id="409"/>
            <p14:sldId id="264"/>
            <p14:sldId id="257"/>
            <p14:sldId id="270"/>
            <p14:sldId id="302"/>
            <p14:sldId id="214748364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28DF5B3-4759-8AA4-B96D-67B80E30C550}" name="Anton Baker" initials="AB" userId="S::anton.baker@horizonte.group::239080d6-2a88-4414-bdec-bfd0c11b3545" providerId="AD"/>
  <p188:author id="{501F1FF3-01AA-4E1A-7448-0B2557082E21}" name="Zweigert, Julia Maria" initials="JZ" userId="S::J61366@eon.com::4fdbc758-30e2-4c20-897d-5d9cb28fe76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9C00"/>
    <a:srgbClr val="009BA4"/>
    <a:srgbClr val="04336C"/>
    <a:srgbClr val="7895AB"/>
    <a:srgbClr val="FBF7EE"/>
    <a:srgbClr val="9DC6D4"/>
    <a:srgbClr val="EDCFAD"/>
    <a:srgbClr val="FDC300"/>
    <a:srgbClr val="FFFFFF"/>
    <a:srgbClr val="FDDB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35CD931-44BA-4415-B424-F8B32166C7D8}" v="8" dt="2026-03-18T12:37:13.369"/>
  </p1510:revLst>
</p1510:revInfo>
</file>

<file path=ppt/tableStyles.xml><?xml version="1.0" encoding="utf-8"?>
<a:tblStyleLst xmlns:a="http://schemas.openxmlformats.org/drawingml/2006/main" def="{9DCAF9ED-07DC-4A11-8D7F-57B35C25682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1074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42" Type="http://schemas.openxmlformats.org/officeDocument/2006/relationships/font" Target="fonts/font7.fntdata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font" Target="fonts/font3.fntdata"/><Relationship Id="rId46" Type="http://schemas.openxmlformats.org/officeDocument/2006/relationships/font" Target="fonts/font11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font" Target="fonts/font6.fntdata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font" Target="fonts/font2.fntdata"/><Relationship Id="rId40" Type="http://schemas.openxmlformats.org/officeDocument/2006/relationships/font" Target="fonts/font5.fntdata"/><Relationship Id="rId45" Type="http://schemas.openxmlformats.org/officeDocument/2006/relationships/font" Target="fonts/font10.fntdata"/><Relationship Id="rId53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1.fntdata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9.fntdata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Relationship Id="rId43" Type="http://schemas.openxmlformats.org/officeDocument/2006/relationships/font" Target="fonts/font8.fntdata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iltl, Georg" userId="5329d879-1a3b-488a-8cf1-672d61400a89" providerId="ADAL" clId="{9EF5FBB1-6F32-40F0-A9D9-14F349062C34}"/>
    <pc:docChg chg="undo custSel modSld">
      <pc:chgData name="Hiltl, Georg" userId="5329d879-1a3b-488a-8cf1-672d61400a89" providerId="ADAL" clId="{9EF5FBB1-6F32-40F0-A9D9-14F349062C34}" dt="2026-03-18T21:14:55.893" v="17" actId="20577"/>
      <pc:docMkLst>
        <pc:docMk/>
      </pc:docMkLst>
      <pc:sldChg chg="delSp modSp mod">
        <pc:chgData name="Hiltl, Georg" userId="5329d879-1a3b-488a-8cf1-672d61400a89" providerId="ADAL" clId="{9EF5FBB1-6F32-40F0-A9D9-14F349062C34}" dt="2026-03-18T21:14:20.275" v="11" actId="1076"/>
        <pc:sldMkLst>
          <pc:docMk/>
          <pc:sldMk cId="796083674" sldId="256"/>
        </pc:sldMkLst>
        <pc:spChg chg="mod">
          <ac:chgData name="Hiltl, Georg" userId="5329d879-1a3b-488a-8cf1-672d61400a89" providerId="ADAL" clId="{9EF5FBB1-6F32-40F0-A9D9-14F349062C34}" dt="2026-03-18T11:04:48.516" v="5" actId="20577"/>
          <ac:spMkLst>
            <pc:docMk/>
            <pc:sldMk cId="796083674" sldId="256"/>
            <ac:spMk id="4" creationId="{29E192F7-1CDD-BA77-FD4B-453C5516F0F3}"/>
          </ac:spMkLst>
        </pc:spChg>
        <pc:spChg chg="mod">
          <ac:chgData name="Hiltl, Georg" userId="5329d879-1a3b-488a-8cf1-672d61400a89" providerId="ADAL" clId="{9EF5FBB1-6F32-40F0-A9D9-14F349062C34}" dt="2026-03-18T21:14:20.275" v="11" actId="1076"/>
          <ac:spMkLst>
            <pc:docMk/>
            <pc:sldMk cId="796083674" sldId="256"/>
            <ac:spMk id="9" creationId="{AF45B64C-0746-3C57-5DCB-C09D0685A2BD}"/>
          </ac:spMkLst>
        </pc:spChg>
        <pc:picChg chg="mod">
          <ac:chgData name="Hiltl, Georg" userId="5329d879-1a3b-488a-8cf1-672d61400a89" providerId="ADAL" clId="{9EF5FBB1-6F32-40F0-A9D9-14F349062C34}" dt="2026-03-18T21:14:20.275" v="11" actId="1076"/>
          <ac:picMkLst>
            <pc:docMk/>
            <pc:sldMk cId="796083674" sldId="256"/>
            <ac:picMk id="5" creationId="{4CC9FA08-983C-47C3-12FC-49C1CD93368F}"/>
          </ac:picMkLst>
        </pc:picChg>
        <pc:picChg chg="del">
          <ac:chgData name="Hiltl, Georg" userId="5329d879-1a3b-488a-8cf1-672d61400a89" providerId="ADAL" clId="{9EF5FBB1-6F32-40F0-A9D9-14F349062C34}" dt="2026-03-18T21:14:03.820" v="6" actId="478"/>
          <ac:picMkLst>
            <pc:docMk/>
            <pc:sldMk cId="796083674" sldId="256"/>
            <ac:picMk id="10" creationId="{A5A9456A-E637-CFDC-C2EB-A4175B109EA7}"/>
          </ac:picMkLst>
        </pc:picChg>
      </pc:sldChg>
      <pc:sldChg chg="modSp mod">
        <pc:chgData name="Hiltl, Georg" userId="5329d879-1a3b-488a-8cf1-672d61400a89" providerId="ADAL" clId="{9EF5FBB1-6F32-40F0-A9D9-14F349062C34}" dt="2026-03-18T10:51:18.715" v="0" actId="207"/>
        <pc:sldMkLst>
          <pc:docMk/>
          <pc:sldMk cId="2462298923" sldId="264"/>
        </pc:sldMkLst>
        <pc:spChg chg="mod">
          <ac:chgData name="Hiltl, Georg" userId="5329d879-1a3b-488a-8cf1-672d61400a89" providerId="ADAL" clId="{9EF5FBB1-6F32-40F0-A9D9-14F349062C34}" dt="2026-03-18T10:51:18.715" v="0" actId="207"/>
          <ac:spMkLst>
            <pc:docMk/>
            <pc:sldMk cId="2462298923" sldId="264"/>
            <ac:spMk id="7" creationId="{C424F4A5-B3B4-41C7-6C05-06D8D434CDFE}"/>
          </ac:spMkLst>
        </pc:spChg>
      </pc:sldChg>
      <pc:sldChg chg="delSp modSp mod">
        <pc:chgData name="Hiltl, Georg" userId="5329d879-1a3b-488a-8cf1-672d61400a89" providerId="ADAL" clId="{9EF5FBB1-6F32-40F0-A9D9-14F349062C34}" dt="2026-03-18T21:14:55.893" v="17" actId="20577"/>
        <pc:sldMkLst>
          <pc:docMk/>
          <pc:sldMk cId="835210052" sldId="302"/>
        </pc:sldMkLst>
        <pc:spChg chg="mod">
          <ac:chgData name="Hiltl, Georg" userId="5329d879-1a3b-488a-8cf1-672d61400a89" providerId="ADAL" clId="{9EF5FBB1-6F32-40F0-A9D9-14F349062C34}" dt="2026-03-18T21:14:55.893" v="17" actId="20577"/>
          <ac:spMkLst>
            <pc:docMk/>
            <pc:sldMk cId="835210052" sldId="302"/>
            <ac:spMk id="4" creationId="{3043ADFD-F0EC-8E78-795A-8AD0B550219F}"/>
          </ac:spMkLst>
        </pc:spChg>
        <pc:picChg chg="del">
          <ac:chgData name="Hiltl, Georg" userId="5329d879-1a3b-488a-8cf1-672d61400a89" providerId="ADAL" clId="{9EF5FBB1-6F32-40F0-A9D9-14F349062C34}" dt="2026-03-18T21:14:30.862" v="12" actId="478"/>
          <ac:picMkLst>
            <pc:docMk/>
            <pc:sldMk cId="835210052" sldId="302"/>
            <ac:picMk id="5" creationId="{F89E6150-29DB-7C07-A606-09E1CD03D6A5}"/>
          </ac:picMkLst>
        </pc:picChg>
      </pc:sldChg>
    </pc:docChg>
  </pc:docChgLst>
  <pc:docChgLst>
    <pc:chgData name="David Hennes" userId="767f8984-27bb-4fc7-a176-7d9c376a04cc" providerId="ADAL" clId="{BE0152AA-4243-4256-BE93-3D4F7E03CE9C}"/>
    <pc:docChg chg="undo custSel modSld">
      <pc:chgData name="David Hennes" userId="767f8984-27bb-4fc7-a176-7d9c376a04cc" providerId="ADAL" clId="{BE0152AA-4243-4256-BE93-3D4F7E03CE9C}" dt="2026-03-18T12:37:45.028" v="90" actId="478"/>
      <pc:docMkLst>
        <pc:docMk/>
      </pc:docMkLst>
      <pc:sldChg chg="delSp modSp mod">
        <pc:chgData name="David Hennes" userId="767f8984-27bb-4fc7-a176-7d9c376a04cc" providerId="ADAL" clId="{BE0152AA-4243-4256-BE93-3D4F7E03CE9C}" dt="2026-03-18T12:37:45.028" v="90" actId="478"/>
        <pc:sldMkLst>
          <pc:docMk/>
          <pc:sldMk cId="2462298923" sldId="264"/>
        </pc:sldMkLst>
        <pc:spChg chg="del mod">
          <ac:chgData name="David Hennes" userId="767f8984-27bb-4fc7-a176-7d9c376a04cc" providerId="ADAL" clId="{BE0152AA-4243-4256-BE93-3D4F7E03CE9C}" dt="2026-03-18T12:37:45.028" v="90" actId="478"/>
          <ac:spMkLst>
            <pc:docMk/>
            <pc:sldMk cId="2462298923" sldId="264"/>
            <ac:spMk id="7" creationId="{C424F4A5-B3B4-41C7-6C05-06D8D434CDFE}"/>
          </ac:spMkLst>
        </pc:spChg>
        <pc:graphicFrameChg chg="mod modGraphic">
          <ac:chgData name="David Hennes" userId="767f8984-27bb-4fc7-a176-7d9c376a04cc" providerId="ADAL" clId="{BE0152AA-4243-4256-BE93-3D4F7E03CE9C}" dt="2026-03-18T12:37:41.111" v="89" actId="207"/>
          <ac:graphicFrameMkLst>
            <pc:docMk/>
            <pc:sldMk cId="2462298923" sldId="264"/>
            <ac:graphicFrameMk id="6" creationId="{9767856B-6024-439C-5F0B-09CE76461EAF}"/>
          </ac:graphicFrameMkLst>
        </pc:graphicFrameChg>
      </pc:sldChg>
    </pc:docChg>
  </pc:docChgLst>
  <pc:docChgLst>
    <pc:chgData name="Gunnar Frey" userId="d910a94d-10f3-4aef-92c4-03258628712b" providerId="ADAL" clId="{00E6F304-5F2C-487D-A6CF-09C3F9FD01D8}"/>
    <pc:docChg chg="undo custSel addSld delSld modSld modSection">
      <pc:chgData name="Gunnar Frey" userId="d910a94d-10f3-4aef-92c4-03258628712b" providerId="ADAL" clId="{00E6F304-5F2C-487D-A6CF-09C3F9FD01D8}" dt="2026-03-13T08:34:38.417" v="831" actId="113"/>
      <pc:docMkLst>
        <pc:docMk/>
      </pc:docMkLst>
      <pc:sldChg chg="addSp delSp modSp mod">
        <pc:chgData name="Gunnar Frey" userId="d910a94d-10f3-4aef-92c4-03258628712b" providerId="ADAL" clId="{00E6F304-5F2C-487D-A6CF-09C3F9FD01D8}" dt="2026-03-11T08:07:44.399" v="519" actId="13926"/>
        <pc:sldMkLst>
          <pc:docMk/>
          <pc:sldMk cId="796083674" sldId="256"/>
        </pc:sldMkLst>
        <pc:spChg chg="mod">
          <ac:chgData name="Gunnar Frey" userId="d910a94d-10f3-4aef-92c4-03258628712b" providerId="ADAL" clId="{00E6F304-5F2C-487D-A6CF-09C3F9FD01D8}" dt="2026-03-11T08:07:05.224" v="518"/>
          <ac:spMkLst>
            <pc:docMk/>
            <pc:sldMk cId="796083674" sldId="256"/>
            <ac:spMk id="2" creationId="{C8A5E4CE-E345-B177-D8A2-2DAFA49FF5A8}"/>
          </ac:spMkLst>
        </pc:spChg>
        <pc:spChg chg="mod">
          <ac:chgData name="Gunnar Frey" userId="d910a94d-10f3-4aef-92c4-03258628712b" providerId="ADAL" clId="{00E6F304-5F2C-487D-A6CF-09C3F9FD01D8}" dt="2026-03-11T08:07:44.399" v="519" actId="13926"/>
          <ac:spMkLst>
            <pc:docMk/>
            <pc:sldMk cId="796083674" sldId="256"/>
            <ac:spMk id="4" creationId="{29E192F7-1CDD-BA77-FD4B-453C5516F0F3}"/>
          </ac:spMkLst>
        </pc:spChg>
        <pc:picChg chg="add mod">
          <ac:chgData name="Gunnar Frey" userId="d910a94d-10f3-4aef-92c4-03258628712b" providerId="ADAL" clId="{00E6F304-5F2C-487D-A6CF-09C3F9FD01D8}" dt="2026-03-11T07:56:23.329" v="422"/>
          <ac:picMkLst>
            <pc:docMk/>
            <pc:sldMk cId="796083674" sldId="256"/>
            <ac:picMk id="5" creationId="{4CC9FA08-983C-47C3-12FC-49C1CD93368F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2:16.921" v="503" actId="478"/>
        <pc:sldMkLst>
          <pc:docMk/>
          <pc:sldMk cId="3155955280" sldId="257"/>
        </pc:sldMkLst>
        <pc:picChg chg="add mod">
          <ac:chgData name="Gunnar Frey" userId="d910a94d-10f3-4aef-92c4-03258628712b" providerId="ADAL" clId="{00E6F304-5F2C-487D-A6CF-09C3F9FD01D8}" dt="2026-03-11T08:02:15.480" v="502"/>
          <ac:picMkLst>
            <pc:docMk/>
            <pc:sldMk cId="3155955280" sldId="257"/>
            <ac:picMk id="7" creationId="{B835182A-F391-5089-4568-2953094534B5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30:46.618" v="678" actId="115"/>
        <pc:sldMkLst>
          <pc:docMk/>
          <pc:sldMk cId="1378165474" sldId="258"/>
        </pc:sldMkLst>
        <pc:spChg chg="mod">
          <ac:chgData name="Gunnar Frey" userId="d910a94d-10f3-4aef-92c4-03258628712b" providerId="ADAL" clId="{00E6F304-5F2C-487D-A6CF-09C3F9FD01D8}" dt="2026-03-11T08:30:46.618" v="678" actId="115"/>
          <ac:spMkLst>
            <pc:docMk/>
            <pc:sldMk cId="1378165474" sldId="258"/>
            <ac:spMk id="6" creationId="{B6156956-DC3B-500C-BB3B-DFD9273C5EA6}"/>
          </ac:spMkLst>
        </pc:spChg>
        <pc:graphicFrameChg chg="add mod">
          <ac:chgData name="Gunnar Frey" userId="d910a94d-10f3-4aef-92c4-03258628712b" providerId="ADAL" clId="{00E6F304-5F2C-487D-A6CF-09C3F9FD01D8}" dt="2026-03-10T11:13:37.849" v="253" actId="1036"/>
          <ac:graphicFrameMkLst>
            <pc:docMk/>
            <pc:sldMk cId="1378165474" sldId="258"/>
            <ac:graphicFrameMk id="10" creationId="{68A22467-8C8B-29ED-FF3A-2CCE58B187A6}"/>
          </ac:graphicFrameMkLst>
        </pc:graphicFrameChg>
        <pc:picChg chg="add mod ord">
          <ac:chgData name="Gunnar Frey" userId="d910a94d-10f3-4aef-92c4-03258628712b" providerId="ADAL" clId="{00E6F304-5F2C-487D-A6CF-09C3F9FD01D8}" dt="2026-03-11T08:27:20.758" v="617" actId="167"/>
          <ac:picMkLst>
            <pc:docMk/>
            <pc:sldMk cId="1378165474" sldId="258"/>
            <ac:picMk id="2" creationId="{E374FA49-7A51-2357-747F-6FACDF27FCC0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0:47.496" v="459" actId="478"/>
        <pc:sldMkLst>
          <pc:docMk/>
          <pc:sldMk cId="3049124006" sldId="259"/>
        </pc:sldMkLst>
        <pc:picChg chg="add mod">
          <ac:chgData name="Gunnar Frey" userId="d910a94d-10f3-4aef-92c4-03258628712b" providerId="ADAL" clId="{00E6F304-5F2C-487D-A6CF-09C3F9FD01D8}" dt="2026-03-11T08:00:46.016" v="458"/>
          <ac:picMkLst>
            <pc:docMk/>
            <pc:sldMk cId="3049124006" sldId="259"/>
            <ac:picMk id="15" creationId="{D40EEBFF-6926-30E4-283A-6E2919783795}"/>
          </ac:picMkLst>
        </pc:picChg>
      </pc:sldChg>
      <pc:sldChg chg="addSp delSp modSp mod">
        <pc:chgData name="Gunnar Frey" userId="d910a94d-10f3-4aef-92c4-03258628712b" providerId="ADAL" clId="{00E6F304-5F2C-487D-A6CF-09C3F9FD01D8}" dt="2026-03-12T13:13:24.929" v="792" actId="1076"/>
        <pc:sldMkLst>
          <pc:docMk/>
          <pc:sldMk cId="2462298923" sldId="264"/>
        </pc:sldMkLst>
        <pc:spChg chg="mod">
          <ac:chgData name="Gunnar Frey" userId="d910a94d-10f3-4aef-92c4-03258628712b" providerId="ADAL" clId="{00E6F304-5F2C-487D-A6CF-09C3F9FD01D8}" dt="2026-03-11T10:39:21.092" v="736" actId="13926"/>
          <ac:spMkLst>
            <pc:docMk/>
            <pc:sldMk cId="2462298923" sldId="264"/>
            <ac:spMk id="2" creationId="{34786E91-8929-AD53-C7FF-AA8383F00218}"/>
          </ac:spMkLst>
        </pc:spChg>
        <pc:spChg chg="mod">
          <ac:chgData name="Gunnar Frey" userId="d910a94d-10f3-4aef-92c4-03258628712b" providerId="ADAL" clId="{00E6F304-5F2C-487D-A6CF-09C3F9FD01D8}" dt="2026-03-11T10:39:21.092" v="736" actId="13926"/>
          <ac:spMkLst>
            <pc:docMk/>
            <pc:sldMk cId="2462298923" sldId="264"/>
            <ac:spMk id="3" creationId="{86447B31-4118-272B-891D-B05D9A65DC8F}"/>
          </ac:spMkLst>
        </pc:spChg>
        <pc:spChg chg="mod">
          <ac:chgData name="Gunnar Frey" userId="d910a94d-10f3-4aef-92c4-03258628712b" providerId="ADAL" clId="{00E6F304-5F2C-487D-A6CF-09C3F9FD01D8}" dt="2026-03-11T10:39:21.092" v="736" actId="13926"/>
          <ac:spMkLst>
            <pc:docMk/>
            <pc:sldMk cId="2462298923" sldId="264"/>
            <ac:spMk id="5" creationId="{3C1FB26C-DF4E-BDE1-C879-3EB2528F86D0}"/>
          </ac:spMkLst>
        </pc:spChg>
        <pc:spChg chg="mod">
          <ac:chgData name="Gunnar Frey" userId="d910a94d-10f3-4aef-92c4-03258628712b" providerId="ADAL" clId="{00E6F304-5F2C-487D-A6CF-09C3F9FD01D8}" dt="2026-03-11T10:39:21.092" v="736" actId="13926"/>
          <ac:spMkLst>
            <pc:docMk/>
            <pc:sldMk cId="2462298923" sldId="264"/>
            <ac:spMk id="9" creationId="{28F7F990-2AEB-3FD0-5864-61ADB94ED252}"/>
          </ac:spMkLst>
        </pc:spChg>
        <pc:spChg chg="mod">
          <ac:chgData name="Gunnar Frey" userId="d910a94d-10f3-4aef-92c4-03258628712b" providerId="ADAL" clId="{00E6F304-5F2C-487D-A6CF-09C3F9FD01D8}" dt="2026-03-11T10:39:21.092" v="736" actId="13926"/>
          <ac:spMkLst>
            <pc:docMk/>
            <pc:sldMk cId="2462298923" sldId="264"/>
            <ac:spMk id="10" creationId="{59DDF379-271C-5932-93B8-5E8A03AB940E}"/>
          </ac:spMkLst>
        </pc:spChg>
        <pc:graphicFrameChg chg="add mod ord modGraphic">
          <ac:chgData name="Gunnar Frey" userId="d910a94d-10f3-4aef-92c4-03258628712b" providerId="ADAL" clId="{00E6F304-5F2C-487D-A6CF-09C3F9FD01D8}" dt="2026-03-12T09:37:09.493" v="776" actId="207"/>
          <ac:graphicFrameMkLst>
            <pc:docMk/>
            <pc:sldMk cId="2462298923" sldId="264"/>
            <ac:graphicFrameMk id="6" creationId="{9767856B-6024-439C-5F0B-09CE76461EAF}"/>
          </ac:graphicFrameMkLst>
        </pc:graphicFrameChg>
        <pc:picChg chg="add mod">
          <ac:chgData name="Gunnar Frey" userId="d910a94d-10f3-4aef-92c4-03258628712b" providerId="ADAL" clId="{00E6F304-5F2C-487D-A6CF-09C3F9FD01D8}" dt="2026-03-11T08:02:11.461" v="500"/>
          <ac:picMkLst>
            <pc:docMk/>
            <pc:sldMk cId="2462298923" sldId="264"/>
            <ac:picMk id="4" creationId="{F750E88A-6146-95F8-13C8-0F76469534C0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37:01.823" v="715"/>
        <pc:sldMkLst>
          <pc:docMk/>
          <pc:sldMk cId="1071799628" sldId="265"/>
        </pc:sldMkLst>
        <pc:spChg chg="mod">
          <ac:chgData name="Gunnar Frey" userId="d910a94d-10f3-4aef-92c4-03258628712b" providerId="ADAL" clId="{00E6F304-5F2C-487D-A6CF-09C3F9FD01D8}" dt="2026-03-11T08:07:05.224" v="518"/>
          <ac:spMkLst>
            <pc:docMk/>
            <pc:sldMk cId="1071799628" sldId="265"/>
            <ac:spMk id="11" creationId="{11D1F378-6A22-E3F9-29BD-C305655C6C2F}"/>
          </ac:spMkLst>
        </pc:spChg>
        <pc:spChg chg="mod">
          <ac:chgData name="Gunnar Frey" userId="d910a94d-10f3-4aef-92c4-03258628712b" providerId="ADAL" clId="{00E6F304-5F2C-487D-A6CF-09C3F9FD01D8}" dt="2026-03-11T08:37:01.823" v="715"/>
          <ac:spMkLst>
            <pc:docMk/>
            <pc:sldMk cId="1071799628" sldId="265"/>
            <ac:spMk id="13" creationId="{9132237F-9E50-D051-C05D-714D0FB4DC84}"/>
          </ac:spMkLst>
        </pc:spChg>
        <pc:picChg chg="add mod">
          <ac:chgData name="Gunnar Frey" userId="d910a94d-10f3-4aef-92c4-03258628712b" providerId="ADAL" clId="{00E6F304-5F2C-487D-A6CF-09C3F9FD01D8}" dt="2026-03-11T08:01:59.281" v="492"/>
          <ac:picMkLst>
            <pc:docMk/>
            <pc:sldMk cId="1071799628" sldId="265"/>
            <ac:picMk id="14" creationId="{8915DA01-EC2D-D8CB-A350-5A91168934C7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7:57:25.021" v="429" actId="478"/>
        <pc:sldMkLst>
          <pc:docMk/>
          <pc:sldMk cId="3227325806" sldId="266"/>
        </pc:sldMkLst>
        <pc:picChg chg="add mod">
          <ac:chgData name="Gunnar Frey" userId="d910a94d-10f3-4aef-92c4-03258628712b" providerId="ADAL" clId="{00E6F304-5F2C-487D-A6CF-09C3F9FD01D8}" dt="2026-03-11T07:56:39.488" v="428"/>
          <ac:picMkLst>
            <pc:docMk/>
            <pc:sldMk cId="3227325806" sldId="266"/>
            <ac:picMk id="6" creationId="{FF05E5F3-0A7F-3C94-A319-704BE052A93C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2:23.532" v="509"/>
        <pc:sldMkLst>
          <pc:docMk/>
          <pc:sldMk cId="148588174" sldId="270"/>
        </pc:sldMkLst>
        <pc:picChg chg="add mod">
          <ac:chgData name="Gunnar Frey" userId="d910a94d-10f3-4aef-92c4-03258628712b" providerId="ADAL" clId="{00E6F304-5F2C-487D-A6CF-09C3F9FD01D8}" dt="2026-03-11T08:02:23.532" v="509"/>
          <ac:picMkLst>
            <pc:docMk/>
            <pc:sldMk cId="148588174" sldId="270"/>
            <ac:picMk id="4" creationId="{C4949A6E-A45C-E4B9-8A9D-A3CEF30504CF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36:24.277" v="704" actId="478"/>
        <pc:sldMkLst>
          <pc:docMk/>
          <pc:sldMk cId="1883332010" sldId="273"/>
        </pc:sldMkLst>
        <pc:spChg chg="mod">
          <ac:chgData name="Gunnar Frey" userId="d910a94d-10f3-4aef-92c4-03258628712b" providerId="ADAL" clId="{00E6F304-5F2C-487D-A6CF-09C3F9FD01D8}" dt="2026-03-11T08:32:29.249" v="693" actId="688"/>
          <ac:spMkLst>
            <pc:docMk/>
            <pc:sldMk cId="1883332010" sldId="273"/>
            <ac:spMk id="8" creationId="{87AE7BAF-7976-4F05-BFA8-4EA6A2E86F0D}"/>
          </ac:spMkLst>
        </pc:spChg>
        <pc:picChg chg="add mod">
          <ac:chgData name="Gunnar Frey" userId="d910a94d-10f3-4aef-92c4-03258628712b" providerId="ADAL" clId="{00E6F304-5F2C-487D-A6CF-09C3F9FD01D8}" dt="2026-03-11T08:01:54.499" v="490"/>
          <ac:picMkLst>
            <pc:docMk/>
            <pc:sldMk cId="1883332010" sldId="273"/>
            <ac:picMk id="3" creationId="{A3A5F2A4-5258-BD16-049A-7D8583092A8D}"/>
          </ac:picMkLst>
        </pc:picChg>
        <pc:picChg chg="add mod ord">
          <ac:chgData name="Gunnar Frey" userId="d910a94d-10f3-4aef-92c4-03258628712b" providerId="ADAL" clId="{00E6F304-5F2C-487D-A6CF-09C3F9FD01D8}" dt="2026-03-11T08:31:44.973" v="688" actId="167"/>
          <ac:picMkLst>
            <pc:docMk/>
            <pc:sldMk cId="1883332010" sldId="273"/>
            <ac:picMk id="10" creationId="{29D80363-ACA6-B138-3FC0-CE66D214CBB2}"/>
          </ac:picMkLst>
        </pc:picChg>
        <pc:picChg chg="add mod ord">
          <ac:chgData name="Gunnar Frey" userId="d910a94d-10f3-4aef-92c4-03258628712b" providerId="ADAL" clId="{00E6F304-5F2C-487D-A6CF-09C3F9FD01D8}" dt="2026-03-11T08:36:22.629" v="703" actId="167"/>
          <ac:picMkLst>
            <pc:docMk/>
            <pc:sldMk cId="1883332010" sldId="273"/>
            <ac:picMk id="14" creationId="{EED0C06C-4364-A7B0-E0B8-91008D65F011}"/>
          </ac:picMkLst>
        </pc:picChg>
        <pc:cxnChg chg="mod">
          <ac:chgData name="Gunnar Frey" userId="d910a94d-10f3-4aef-92c4-03258628712b" providerId="ADAL" clId="{00E6F304-5F2C-487D-A6CF-09C3F9FD01D8}" dt="2026-03-10T11:19:47.119" v="333" actId="1036"/>
          <ac:cxnSpMkLst>
            <pc:docMk/>
            <pc:sldMk cId="1883332010" sldId="273"/>
            <ac:cxnSpMk id="7" creationId="{516B2F5D-4D02-7BED-B13B-B97FCC8ED090}"/>
          </ac:cxnSpMkLst>
        </pc:cxnChg>
      </pc:sldChg>
      <pc:sldChg chg="addSp delSp modSp mod">
        <pc:chgData name="Gunnar Frey" userId="d910a94d-10f3-4aef-92c4-03258628712b" providerId="ADAL" clId="{00E6F304-5F2C-487D-A6CF-09C3F9FD01D8}" dt="2026-03-11T08:02:41.211" v="515" actId="478"/>
        <pc:sldMkLst>
          <pc:docMk/>
          <pc:sldMk cId="835210052" sldId="302"/>
        </pc:sldMkLst>
        <pc:picChg chg="add mod">
          <ac:chgData name="Gunnar Frey" userId="d910a94d-10f3-4aef-92c4-03258628712b" providerId="ADAL" clId="{00E6F304-5F2C-487D-A6CF-09C3F9FD01D8}" dt="2026-03-11T08:02:37.227" v="514"/>
          <ac:picMkLst>
            <pc:docMk/>
            <pc:sldMk cId="835210052" sldId="302"/>
            <ac:picMk id="7" creationId="{4A2CB4B5-9306-5F25-E485-1458704B28BD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1:21.931" v="475" actId="478"/>
        <pc:sldMkLst>
          <pc:docMk/>
          <pc:sldMk cId="364562467" sldId="357"/>
        </pc:sldMkLst>
        <pc:picChg chg="add mod">
          <ac:chgData name="Gunnar Frey" userId="d910a94d-10f3-4aef-92c4-03258628712b" providerId="ADAL" clId="{00E6F304-5F2C-487D-A6CF-09C3F9FD01D8}" dt="2026-03-11T08:01:20.359" v="474"/>
          <ac:picMkLst>
            <pc:docMk/>
            <pc:sldMk cId="364562467" sldId="357"/>
            <ac:picMk id="12" creationId="{41AF7F1C-5B74-4154-D498-7A9908D4D37D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0:23.475" v="451"/>
        <pc:sldMkLst>
          <pc:docMk/>
          <pc:sldMk cId="3071693122" sldId="405"/>
        </pc:sldMkLst>
        <pc:spChg chg="ord">
          <ac:chgData name="Gunnar Frey" userId="d910a94d-10f3-4aef-92c4-03258628712b" providerId="ADAL" clId="{00E6F304-5F2C-487D-A6CF-09C3F9FD01D8}" dt="2026-03-10T10:44:14.105" v="24" actId="167"/>
          <ac:spMkLst>
            <pc:docMk/>
            <pc:sldMk cId="3071693122" sldId="405"/>
            <ac:spMk id="7" creationId="{6AF90785-FFF2-8F39-A19A-B0C975DEC09D}"/>
          </ac:spMkLst>
        </pc:spChg>
        <pc:picChg chg="add mod">
          <ac:chgData name="Gunnar Frey" userId="d910a94d-10f3-4aef-92c4-03258628712b" providerId="ADAL" clId="{00E6F304-5F2C-487D-A6CF-09C3F9FD01D8}" dt="2026-03-11T08:00:23.475" v="451"/>
          <ac:picMkLst>
            <pc:docMk/>
            <pc:sldMk cId="3071693122" sldId="405"/>
            <ac:picMk id="6" creationId="{6698EB76-A0DE-1E49-884E-32F36FD24630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0:57.369" v="465"/>
        <pc:sldMkLst>
          <pc:docMk/>
          <pc:sldMk cId="1332292803" sldId="406"/>
        </pc:sldMkLst>
        <pc:picChg chg="add mod">
          <ac:chgData name="Gunnar Frey" userId="d910a94d-10f3-4aef-92c4-03258628712b" providerId="ADAL" clId="{00E6F304-5F2C-487D-A6CF-09C3F9FD01D8}" dt="2026-03-11T08:00:57.369" v="465"/>
          <ac:picMkLst>
            <pc:docMk/>
            <pc:sldMk cId="1332292803" sldId="406"/>
            <ac:picMk id="4" creationId="{022EE066-05F1-F8DE-3462-B62639CA6F9E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1:44.603" v="487"/>
        <pc:sldMkLst>
          <pc:docMk/>
          <pc:sldMk cId="2402403533" sldId="408"/>
        </pc:sldMkLst>
        <pc:picChg chg="add mod">
          <ac:chgData name="Gunnar Frey" userId="d910a94d-10f3-4aef-92c4-03258628712b" providerId="ADAL" clId="{00E6F304-5F2C-487D-A6CF-09C3F9FD01D8}" dt="2026-03-11T08:01:44.603" v="487"/>
          <ac:picMkLst>
            <pc:docMk/>
            <pc:sldMk cId="2402403533" sldId="408"/>
            <ac:picMk id="6" creationId="{DF6EA08F-E758-2197-53A0-55E352AFB8C9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2:08.124" v="499"/>
        <pc:sldMkLst>
          <pc:docMk/>
          <pc:sldMk cId="1657320315" sldId="409"/>
        </pc:sldMkLst>
        <pc:picChg chg="add mod">
          <ac:chgData name="Gunnar Frey" userId="d910a94d-10f3-4aef-92c4-03258628712b" providerId="ADAL" clId="{00E6F304-5F2C-487D-A6CF-09C3F9FD01D8}" dt="2026-03-11T08:02:08.124" v="499"/>
          <ac:picMkLst>
            <pc:docMk/>
            <pc:sldMk cId="1657320315" sldId="409"/>
            <ac:picMk id="4" creationId="{A103D6C5-2155-6147-F58A-CB0762FAE783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0:39.241" v="455" actId="478"/>
        <pc:sldMkLst>
          <pc:docMk/>
          <pc:sldMk cId="1893305743" sldId="411"/>
        </pc:sldMkLst>
        <pc:picChg chg="add mod">
          <ac:chgData name="Gunnar Frey" userId="d910a94d-10f3-4aef-92c4-03258628712b" providerId="ADAL" clId="{00E6F304-5F2C-487D-A6CF-09C3F9FD01D8}" dt="2026-03-11T08:00:36.774" v="454"/>
          <ac:picMkLst>
            <pc:docMk/>
            <pc:sldMk cId="1893305743" sldId="411"/>
            <ac:picMk id="12" creationId="{68641DF3-47D4-5FA2-8900-3C1B66BF3770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0:01.389" v="443" actId="1076"/>
        <pc:sldMkLst>
          <pc:docMk/>
          <pc:sldMk cId="1623639842" sldId="413"/>
        </pc:sldMkLst>
        <pc:picChg chg="add mod ord">
          <ac:chgData name="Gunnar Frey" userId="d910a94d-10f3-4aef-92c4-03258628712b" providerId="ADAL" clId="{00E6F304-5F2C-487D-A6CF-09C3F9FD01D8}" dt="2026-03-11T08:00:01.389" v="443" actId="1076"/>
          <ac:picMkLst>
            <pc:docMk/>
            <pc:sldMk cId="1623639842" sldId="413"/>
            <ac:picMk id="37" creationId="{566DBFB1-261D-BBCA-6EB4-1A53A13A9B94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39:50.413" v="726" actId="13926"/>
        <pc:sldMkLst>
          <pc:docMk/>
          <pc:sldMk cId="2345517620" sldId="428"/>
        </pc:sldMkLst>
        <pc:spChg chg="mod">
          <ac:chgData name="Gunnar Frey" userId="d910a94d-10f3-4aef-92c4-03258628712b" providerId="ADAL" clId="{00E6F304-5F2C-487D-A6CF-09C3F9FD01D8}" dt="2026-03-11T08:07:05.224" v="518"/>
          <ac:spMkLst>
            <pc:docMk/>
            <pc:sldMk cId="2345517620" sldId="428"/>
            <ac:spMk id="9" creationId="{BE97B663-BE9F-48FF-785B-1F17A448FD74}"/>
          </ac:spMkLst>
        </pc:spChg>
        <pc:spChg chg="mod">
          <ac:chgData name="Gunnar Frey" userId="d910a94d-10f3-4aef-92c4-03258628712b" providerId="ADAL" clId="{00E6F304-5F2C-487D-A6CF-09C3F9FD01D8}" dt="2026-03-11T08:39:50.413" v="726" actId="13926"/>
          <ac:spMkLst>
            <pc:docMk/>
            <pc:sldMk cId="2345517620" sldId="428"/>
            <ac:spMk id="11" creationId="{151E1337-39A9-7E99-5842-37360B98AFF7}"/>
          </ac:spMkLst>
        </pc:spChg>
        <pc:spChg chg="mod">
          <ac:chgData name="Gunnar Frey" userId="d910a94d-10f3-4aef-92c4-03258628712b" providerId="ADAL" clId="{00E6F304-5F2C-487D-A6CF-09C3F9FD01D8}" dt="2026-03-11T08:26:23.637" v="610" actId="20577"/>
          <ac:spMkLst>
            <pc:docMk/>
            <pc:sldMk cId="2345517620" sldId="428"/>
            <ac:spMk id="13" creationId="{06B1D6B8-0865-6CAD-131A-D1071731F4AD}"/>
          </ac:spMkLst>
        </pc:spChg>
        <pc:picChg chg="add mod">
          <ac:chgData name="Gunnar Frey" userId="d910a94d-10f3-4aef-92c4-03258628712b" providerId="ADAL" clId="{00E6F304-5F2C-487D-A6CF-09C3F9FD01D8}" dt="2026-03-11T08:01:10.123" v="470"/>
          <ac:picMkLst>
            <pc:docMk/>
            <pc:sldMk cId="2345517620" sldId="428"/>
            <ac:picMk id="14" creationId="{69A91860-6D27-C1A8-9B97-71EAC1A9DF64}"/>
          </ac:picMkLst>
        </pc:picChg>
      </pc:sldChg>
      <pc:sldChg chg="addSp delSp modSp mod">
        <pc:chgData name="Gunnar Frey" userId="d910a94d-10f3-4aef-92c4-03258628712b" providerId="ADAL" clId="{00E6F304-5F2C-487D-A6CF-09C3F9FD01D8}" dt="2026-03-13T08:34:38.417" v="831" actId="113"/>
        <pc:sldMkLst>
          <pc:docMk/>
          <pc:sldMk cId="1181293372" sldId="430"/>
        </pc:sldMkLst>
        <pc:spChg chg="add mod">
          <ac:chgData name="Gunnar Frey" userId="d910a94d-10f3-4aef-92c4-03258628712b" providerId="ADAL" clId="{00E6F304-5F2C-487D-A6CF-09C3F9FD01D8}" dt="2026-03-13T08:34:38.417" v="831" actId="113"/>
          <ac:spMkLst>
            <pc:docMk/>
            <pc:sldMk cId="1181293372" sldId="430"/>
            <ac:spMk id="10" creationId="{72360206-846E-26C3-9EBD-E84E85571999}"/>
          </ac:spMkLst>
        </pc:spChg>
        <pc:spChg chg="mod">
          <ac:chgData name="Gunnar Frey" userId="d910a94d-10f3-4aef-92c4-03258628712b" providerId="ADAL" clId="{00E6F304-5F2C-487D-A6CF-09C3F9FD01D8}" dt="2026-03-11T08:07:05.224" v="518"/>
          <ac:spMkLst>
            <pc:docMk/>
            <pc:sldMk cId="1181293372" sldId="430"/>
            <ac:spMk id="11" creationId="{915A2073-6F61-837D-2179-FED2B3002975}"/>
          </ac:spMkLst>
        </pc:spChg>
        <pc:picChg chg="add mod">
          <ac:chgData name="Gunnar Frey" userId="d910a94d-10f3-4aef-92c4-03258628712b" providerId="ADAL" clId="{00E6F304-5F2C-487D-A6CF-09C3F9FD01D8}" dt="2026-03-11T08:01:31.711" v="480"/>
          <ac:picMkLst>
            <pc:docMk/>
            <pc:sldMk cId="1181293372" sldId="430"/>
            <ac:picMk id="14" creationId="{A5C2567A-8550-5D39-F859-BBFAC258EE87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0:13.491" v="445" actId="478"/>
        <pc:sldMkLst>
          <pc:docMk/>
          <pc:sldMk cId="2911221557" sldId="2147483623"/>
        </pc:sldMkLst>
        <pc:picChg chg="add mod">
          <ac:chgData name="Gunnar Frey" userId="d910a94d-10f3-4aef-92c4-03258628712b" providerId="ADAL" clId="{00E6F304-5F2C-487D-A6CF-09C3F9FD01D8}" dt="2026-03-11T08:00:11.761" v="444"/>
          <ac:picMkLst>
            <pc:docMk/>
            <pc:sldMk cId="2911221557" sldId="2147483623"/>
            <ac:picMk id="7" creationId="{8940B477-ADA1-5230-958F-D7200DBBE981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0:33.871" v="453" actId="478"/>
        <pc:sldMkLst>
          <pc:docMk/>
          <pc:sldMk cId="1451393776" sldId="2147483626"/>
        </pc:sldMkLst>
        <pc:picChg chg="add mod">
          <ac:chgData name="Gunnar Frey" userId="d910a94d-10f3-4aef-92c4-03258628712b" providerId="ADAL" clId="{00E6F304-5F2C-487D-A6CF-09C3F9FD01D8}" dt="2026-03-11T08:00:30.443" v="452"/>
          <ac:picMkLst>
            <pc:docMk/>
            <pc:sldMk cId="1451393776" sldId="2147483626"/>
            <ac:picMk id="13" creationId="{BD93E422-C970-D69C-7CDB-C65B26750841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1:03.223" v="467" actId="478"/>
        <pc:sldMkLst>
          <pc:docMk/>
          <pc:sldMk cId="45202127" sldId="2147483629"/>
        </pc:sldMkLst>
        <pc:picChg chg="add mod">
          <ac:chgData name="Gunnar Frey" userId="d910a94d-10f3-4aef-92c4-03258628712b" providerId="ADAL" clId="{00E6F304-5F2C-487D-A6CF-09C3F9FD01D8}" dt="2026-03-11T08:01:01.181" v="466"/>
          <ac:picMkLst>
            <pc:docMk/>
            <pc:sldMk cId="45202127" sldId="2147483629"/>
            <ac:picMk id="2" creationId="{8456BEF4-78EE-09C7-B882-006C575E6E28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1:16.978" v="473" actId="478"/>
        <pc:sldMkLst>
          <pc:docMk/>
          <pc:sldMk cId="1036073524" sldId="2147483631"/>
        </pc:sldMkLst>
        <pc:picChg chg="add mod">
          <ac:chgData name="Gunnar Frey" userId="d910a94d-10f3-4aef-92c4-03258628712b" providerId="ADAL" clId="{00E6F304-5F2C-487D-A6CF-09C3F9FD01D8}" dt="2026-03-11T08:01:14.927" v="472"/>
          <ac:picMkLst>
            <pc:docMk/>
            <pc:sldMk cId="1036073524" sldId="2147483631"/>
            <ac:picMk id="7" creationId="{0AA612A9-21FD-272A-8850-4C51681CF7A4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1:49.768" v="489" actId="478"/>
        <pc:sldMkLst>
          <pc:docMk/>
          <pc:sldMk cId="3086665946" sldId="2147483632"/>
        </pc:sldMkLst>
        <pc:picChg chg="add mod">
          <ac:chgData name="Gunnar Frey" userId="d910a94d-10f3-4aef-92c4-03258628712b" providerId="ADAL" clId="{00E6F304-5F2C-487D-A6CF-09C3F9FD01D8}" dt="2026-03-11T08:01:47.560" v="488"/>
          <ac:picMkLst>
            <pc:docMk/>
            <pc:sldMk cId="3086665946" sldId="2147483632"/>
            <ac:picMk id="7" creationId="{082485E8-6A81-BCD1-9C4E-80CD5A9FF2AA}"/>
          </ac:picMkLst>
        </pc:picChg>
      </pc:sldChg>
      <pc:sldChg chg="addSp delSp modSp mod">
        <pc:chgData name="Gunnar Frey" userId="d910a94d-10f3-4aef-92c4-03258628712b" providerId="ADAL" clId="{00E6F304-5F2C-487D-A6CF-09C3F9FD01D8}" dt="2026-03-13T08:27:40.655" v="811" actId="13926"/>
        <pc:sldMkLst>
          <pc:docMk/>
          <pc:sldMk cId="267942105" sldId="2147483640"/>
        </pc:sldMkLst>
        <pc:spChg chg="mod">
          <ac:chgData name="Gunnar Frey" userId="d910a94d-10f3-4aef-92c4-03258628712b" providerId="ADAL" clId="{00E6F304-5F2C-487D-A6CF-09C3F9FD01D8}" dt="2026-03-13T08:27:40.655" v="811" actId="13926"/>
          <ac:spMkLst>
            <pc:docMk/>
            <pc:sldMk cId="267942105" sldId="2147483640"/>
            <ac:spMk id="2" creationId="{BD98CAF5-61AC-40E2-EF37-A84764A5D838}"/>
          </ac:spMkLst>
        </pc:spChg>
        <pc:spChg chg="mod">
          <ac:chgData name="Gunnar Frey" userId="d910a94d-10f3-4aef-92c4-03258628712b" providerId="ADAL" clId="{00E6F304-5F2C-487D-A6CF-09C3F9FD01D8}" dt="2026-03-13T08:27:40.655" v="811" actId="13926"/>
          <ac:spMkLst>
            <pc:docMk/>
            <pc:sldMk cId="267942105" sldId="2147483640"/>
            <ac:spMk id="4" creationId="{2F351E06-B7E3-AB90-C743-32D259435ABF}"/>
          </ac:spMkLst>
        </pc:spChg>
        <pc:spChg chg="mod">
          <ac:chgData name="Gunnar Frey" userId="d910a94d-10f3-4aef-92c4-03258628712b" providerId="ADAL" clId="{00E6F304-5F2C-487D-A6CF-09C3F9FD01D8}" dt="2026-03-13T08:27:40.655" v="811" actId="13926"/>
          <ac:spMkLst>
            <pc:docMk/>
            <pc:sldMk cId="267942105" sldId="2147483640"/>
            <ac:spMk id="5" creationId="{4790D011-AD2B-6583-8D8E-7149FB51C4FB}"/>
          </ac:spMkLst>
        </pc:spChg>
        <pc:spChg chg="add mod ord">
          <ac:chgData name="Gunnar Frey" userId="d910a94d-10f3-4aef-92c4-03258628712b" providerId="ADAL" clId="{00E6F304-5F2C-487D-A6CF-09C3F9FD01D8}" dt="2026-03-13T08:27:40.655" v="811" actId="13926"/>
          <ac:spMkLst>
            <pc:docMk/>
            <pc:sldMk cId="267942105" sldId="2147483640"/>
            <ac:spMk id="6" creationId="{B01E86C9-4A3C-8CF5-48A0-0814F76F16FC}"/>
          </ac:spMkLst>
        </pc:spChg>
        <pc:spChg chg="mod ord">
          <ac:chgData name="Gunnar Frey" userId="d910a94d-10f3-4aef-92c4-03258628712b" providerId="ADAL" clId="{00E6F304-5F2C-487D-A6CF-09C3F9FD01D8}" dt="2026-03-13T08:27:40.655" v="811" actId="13926"/>
          <ac:spMkLst>
            <pc:docMk/>
            <pc:sldMk cId="267942105" sldId="2147483640"/>
            <ac:spMk id="7" creationId="{D61D093B-6702-FE1E-F585-526DD606ECCC}"/>
          </ac:spMkLst>
        </pc:spChg>
        <pc:spChg chg="mod">
          <ac:chgData name="Gunnar Frey" userId="d910a94d-10f3-4aef-92c4-03258628712b" providerId="ADAL" clId="{00E6F304-5F2C-487D-A6CF-09C3F9FD01D8}" dt="2026-03-13T08:27:40.655" v="811" actId="13926"/>
          <ac:spMkLst>
            <pc:docMk/>
            <pc:sldMk cId="267942105" sldId="2147483640"/>
            <ac:spMk id="8" creationId="{FD2B84F2-1355-A123-E063-0591966ABC05}"/>
          </ac:spMkLst>
        </pc:spChg>
        <pc:spChg chg="mod">
          <ac:chgData name="Gunnar Frey" userId="d910a94d-10f3-4aef-92c4-03258628712b" providerId="ADAL" clId="{00E6F304-5F2C-487D-A6CF-09C3F9FD01D8}" dt="2026-03-13T08:27:40.655" v="811" actId="13926"/>
          <ac:spMkLst>
            <pc:docMk/>
            <pc:sldMk cId="267942105" sldId="2147483640"/>
            <ac:spMk id="9" creationId="{40FFEDCB-9453-AD63-4F0B-4CB27953193A}"/>
          </ac:spMkLst>
        </pc:spChg>
        <pc:spChg chg="mod">
          <ac:chgData name="Gunnar Frey" userId="d910a94d-10f3-4aef-92c4-03258628712b" providerId="ADAL" clId="{00E6F304-5F2C-487D-A6CF-09C3F9FD01D8}" dt="2026-03-13T08:27:40.655" v="811" actId="13926"/>
          <ac:spMkLst>
            <pc:docMk/>
            <pc:sldMk cId="267942105" sldId="2147483640"/>
            <ac:spMk id="14" creationId="{5511B188-C1C2-9EF3-D606-67850467EB41}"/>
          </ac:spMkLst>
        </pc:spChg>
        <pc:spChg chg="mod">
          <ac:chgData name="Gunnar Frey" userId="d910a94d-10f3-4aef-92c4-03258628712b" providerId="ADAL" clId="{00E6F304-5F2C-487D-A6CF-09C3F9FD01D8}" dt="2026-03-13T08:27:40.655" v="811" actId="13926"/>
          <ac:spMkLst>
            <pc:docMk/>
            <pc:sldMk cId="267942105" sldId="2147483640"/>
            <ac:spMk id="15" creationId="{E31726D9-DE1A-79BC-A16D-40FAA87BF7E9}"/>
          </ac:spMkLst>
        </pc:spChg>
        <pc:spChg chg="mod">
          <ac:chgData name="Gunnar Frey" userId="d910a94d-10f3-4aef-92c4-03258628712b" providerId="ADAL" clId="{00E6F304-5F2C-487D-A6CF-09C3F9FD01D8}" dt="2026-03-12T15:30:32.725" v="794" actId="207"/>
          <ac:spMkLst>
            <pc:docMk/>
            <pc:sldMk cId="267942105" sldId="2147483640"/>
            <ac:spMk id="17" creationId="{8F166373-C041-02EF-5D99-0F1F818BB1DA}"/>
          </ac:spMkLst>
        </pc:spChg>
        <pc:spChg chg="mod">
          <ac:chgData name="Gunnar Frey" userId="d910a94d-10f3-4aef-92c4-03258628712b" providerId="ADAL" clId="{00E6F304-5F2C-487D-A6CF-09C3F9FD01D8}" dt="2026-03-13T08:27:40.655" v="811" actId="13926"/>
          <ac:spMkLst>
            <pc:docMk/>
            <pc:sldMk cId="267942105" sldId="2147483640"/>
            <ac:spMk id="19" creationId="{46C371DB-8182-6083-7706-18714D6AA7F0}"/>
          </ac:spMkLst>
        </pc:spChg>
        <pc:spChg chg="mod">
          <ac:chgData name="Gunnar Frey" userId="d910a94d-10f3-4aef-92c4-03258628712b" providerId="ADAL" clId="{00E6F304-5F2C-487D-A6CF-09C3F9FD01D8}" dt="2026-03-12T09:35:28.511" v="773" actId="13926"/>
          <ac:spMkLst>
            <pc:docMk/>
            <pc:sldMk cId="267942105" sldId="2147483640"/>
            <ac:spMk id="20" creationId="{70E08636-C930-B0DB-412A-4FD00599499E}"/>
          </ac:spMkLst>
        </pc:spChg>
        <pc:picChg chg="add mod">
          <ac:chgData name="Gunnar Frey" userId="d910a94d-10f3-4aef-92c4-03258628712b" providerId="ADAL" clId="{00E6F304-5F2C-487D-A6CF-09C3F9FD01D8}" dt="2026-03-11T08:01:28.143" v="478"/>
          <ac:picMkLst>
            <pc:docMk/>
            <pc:sldMk cId="267942105" sldId="2147483640"/>
            <ac:picMk id="10" creationId="{4694D383-29BD-19B8-3D98-04F824B69FC0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1:25.843" v="477" actId="478"/>
        <pc:sldMkLst>
          <pc:docMk/>
          <pc:sldMk cId="3875814345" sldId="2147483641"/>
        </pc:sldMkLst>
        <pc:picChg chg="add mod">
          <ac:chgData name="Gunnar Frey" userId="d910a94d-10f3-4aef-92c4-03258628712b" providerId="ADAL" clId="{00E6F304-5F2C-487D-A6CF-09C3F9FD01D8}" dt="2026-03-11T08:01:24.263" v="476"/>
          <ac:picMkLst>
            <pc:docMk/>
            <pc:sldMk cId="3875814345" sldId="2147483641"/>
            <ac:picMk id="16" creationId="{62673AC0-BDC1-E8B8-12B8-A0A503D33971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2:47.880" v="517" actId="478"/>
        <pc:sldMkLst>
          <pc:docMk/>
          <pc:sldMk cId="483407752" sldId="2147483643"/>
        </pc:sldMkLst>
        <pc:picChg chg="add mod">
          <ac:chgData name="Gunnar Frey" userId="d910a94d-10f3-4aef-92c4-03258628712b" providerId="ADAL" clId="{00E6F304-5F2C-487D-A6CF-09C3F9FD01D8}" dt="2026-03-11T08:02:46.335" v="516"/>
          <ac:picMkLst>
            <pc:docMk/>
            <pc:sldMk cId="483407752" sldId="2147483643"/>
            <ac:picMk id="7" creationId="{F29DD4DF-51A0-372F-91D5-CF78C591BA82}"/>
          </ac:picMkLst>
        </pc:picChg>
      </pc:sldChg>
      <pc:sldChg chg="addSp delSp modSp mod">
        <pc:chgData name="Gunnar Frey" userId="d910a94d-10f3-4aef-92c4-03258628712b" providerId="ADAL" clId="{00E6F304-5F2C-487D-A6CF-09C3F9FD01D8}" dt="2026-03-11T08:00:43.546" v="457" actId="478"/>
        <pc:sldMkLst>
          <pc:docMk/>
          <pc:sldMk cId="523561112" sldId="2147483644"/>
        </pc:sldMkLst>
        <pc:picChg chg="add mod">
          <ac:chgData name="Gunnar Frey" userId="d910a94d-10f3-4aef-92c4-03258628712b" providerId="ADAL" clId="{00E6F304-5F2C-487D-A6CF-09C3F9FD01D8}" dt="2026-03-11T08:00:41.991" v="456"/>
          <ac:picMkLst>
            <pc:docMk/>
            <pc:sldMk cId="523561112" sldId="2147483644"/>
            <ac:picMk id="12" creationId="{C465ED51-9677-BC61-6EBC-BDD1AEFCFA30}"/>
          </ac:picMkLst>
        </pc:picChg>
      </pc:sldChg>
      <pc:sldChg chg="addSp delSp modSp add mod">
        <pc:chgData name="Gunnar Frey" userId="d910a94d-10f3-4aef-92c4-03258628712b" providerId="ADAL" clId="{00E6F304-5F2C-487D-A6CF-09C3F9FD01D8}" dt="2026-03-11T08:25:59.511" v="595" actId="20577"/>
        <pc:sldMkLst>
          <pc:docMk/>
          <pc:sldMk cId="3882429263" sldId="2147483645"/>
        </pc:sldMkLst>
        <pc:spChg chg="mod">
          <ac:chgData name="Gunnar Frey" userId="d910a94d-10f3-4aef-92c4-03258628712b" providerId="ADAL" clId="{00E6F304-5F2C-487D-A6CF-09C3F9FD01D8}" dt="2026-03-11T08:24:54.701" v="591" actId="20577"/>
          <ac:spMkLst>
            <pc:docMk/>
            <pc:sldMk cId="3882429263" sldId="2147483645"/>
            <ac:spMk id="4" creationId="{AE07B80C-A8B1-9C11-E220-9C818522A941}"/>
          </ac:spMkLst>
        </pc:spChg>
        <pc:spChg chg="mod">
          <ac:chgData name="Gunnar Frey" userId="d910a94d-10f3-4aef-92c4-03258628712b" providerId="ADAL" clId="{00E6F304-5F2C-487D-A6CF-09C3F9FD01D8}" dt="2026-03-11T08:11:09.085" v="572" actId="1037"/>
          <ac:spMkLst>
            <pc:docMk/>
            <pc:sldMk cId="3882429263" sldId="2147483645"/>
            <ac:spMk id="19" creationId="{977132F5-82C7-9540-3D9E-0D0FD8E7CBE2}"/>
          </ac:spMkLst>
        </pc:spChg>
        <pc:spChg chg="mod">
          <ac:chgData name="Gunnar Frey" userId="d910a94d-10f3-4aef-92c4-03258628712b" providerId="ADAL" clId="{00E6F304-5F2C-487D-A6CF-09C3F9FD01D8}" dt="2026-03-11T08:25:59.511" v="595" actId="20577"/>
          <ac:spMkLst>
            <pc:docMk/>
            <pc:sldMk cId="3882429263" sldId="2147483645"/>
            <ac:spMk id="20" creationId="{C7691DD8-387D-FA8D-7914-7D4AD614422F}"/>
          </ac:spMkLst>
        </pc:spChg>
        <pc:picChg chg="add mod">
          <ac:chgData name="Gunnar Frey" userId="d910a94d-10f3-4aef-92c4-03258628712b" providerId="ADAL" clId="{00E6F304-5F2C-487D-A6CF-09C3F9FD01D8}" dt="2026-03-11T08:09:22.248" v="521"/>
          <ac:picMkLst>
            <pc:docMk/>
            <pc:sldMk cId="3882429263" sldId="2147483645"/>
            <ac:picMk id="2" creationId="{D65E80D2-2A0F-E6CB-F2F0-ABF9493EF003}"/>
          </ac:picMkLst>
        </pc:picChg>
        <pc:picChg chg="add del mod ord">
          <ac:chgData name="Gunnar Frey" userId="d910a94d-10f3-4aef-92c4-03258628712b" providerId="ADAL" clId="{00E6F304-5F2C-487D-A6CF-09C3F9FD01D8}" dt="2026-03-11T08:11:02.092" v="570" actId="1037"/>
          <ac:picMkLst>
            <pc:docMk/>
            <pc:sldMk cId="3882429263" sldId="2147483645"/>
            <ac:picMk id="7" creationId="{703B30E7-5021-FA79-2C3A-C566D5D82995}"/>
          </ac:picMkLst>
        </pc:picChg>
        <pc:picChg chg="add mod ord">
          <ac:chgData name="Gunnar Frey" userId="d910a94d-10f3-4aef-92c4-03258628712b" providerId="ADAL" clId="{00E6F304-5F2C-487D-A6CF-09C3F9FD01D8}" dt="2026-03-11T08:12:11.396" v="582" actId="167"/>
          <ac:picMkLst>
            <pc:docMk/>
            <pc:sldMk cId="3882429263" sldId="2147483645"/>
            <ac:picMk id="9" creationId="{1FB5D566-7C5E-1A24-1758-6098D85F4769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2670854F-1FEF-F635-6F29-D3F1D6EA8A6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Innogy" panose="020B0503040000020003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A65CE5E-A08F-35A0-E3EA-DEBB68F7F13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EE6953-9131-CA44-9B32-61233F9FE6F6}" type="datetimeFigureOut">
              <a:rPr lang="de-DE" smtClean="0">
                <a:latin typeface="Innogy" panose="020B0503040000020003" pitchFamily="34" charset="0"/>
              </a:rPr>
              <a:t>18.03.2026</a:t>
            </a:fld>
            <a:endParaRPr lang="de-DE">
              <a:latin typeface="Innogy" panose="020B0503040000020003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05E179-733C-7ADE-4C44-DB09ECCAFA5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Innogy" panose="020B0503040000020003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8FCD8B6-5706-347A-1ED9-344AF90267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C03CD9-F1CD-3D49-83AB-9DF58D2ECDE4}" type="slidenum">
              <a:rPr lang="de-DE" smtClean="0">
                <a:latin typeface="Innogy" panose="020B0503040000020003" pitchFamily="34" charset="0"/>
              </a:rPr>
              <a:t>‹Nr.›</a:t>
            </a:fld>
            <a:endParaRPr lang="de-DE">
              <a:latin typeface="Innogy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530645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Innogy" panose="020B0503040000020003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Innogy" panose="020B0503040000020003" pitchFamily="34" charset="0"/>
              </a:defRPr>
            </a:lvl1pPr>
          </a:lstStyle>
          <a:p>
            <a:fld id="{2C7DD0F5-10E5-1F44-AF00-AFFC3639996A}" type="datetimeFigureOut">
              <a:rPr lang="de-DE" smtClean="0"/>
              <a:pPr/>
              <a:t>18.03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Innogy" panose="020B0503040000020003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Innogy" panose="020B0503040000020003" pitchFamily="34" charset="0"/>
              </a:defRPr>
            </a:lvl1pPr>
          </a:lstStyle>
          <a:p>
            <a:fld id="{A56D9F21-F8A4-AD47-AE84-B54AEB7E6098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67453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Innogy" panose="020B050304000002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Innogy" panose="020B050304000002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Innogy" panose="020B050304000002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Innogy" panose="020B050304000002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Innogy" panose="020B050304000002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Warum brauchen wir die Wärmeplanung überhaupt?</a:t>
            </a:r>
          </a:p>
          <a:p>
            <a:r>
              <a:rPr lang="de-DE"/>
              <a:t>Wenn wir über Energiewende sprechen, denken viele zuerst an Strom, aber größter Hebel liegt tatsächlich in der Wärme. Über 80 % der Energie in unseren Haushalten brauchen wir für Heizung und Warmwasser. Das zeigt recht deutlich: ohne Veränderung in der Wärmeversorgung schaffen wir weder das Ziel der Bundesregierung, Klimaneutral 2045, noch langfristig bezahlbare Energiekost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66085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Übergabe an DH: Wie </a:t>
            </a:r>
            <a:r>
              <a:rPr lang="de-DE" err="1"/>
              <a:t>Größ</a:t>
            </a:r>
            <a:r>
              <a:rPr lang="de-DE"/>
              <a:t> dieser Effekt der Sanierung und die Prognose der Zukunft aussieht, sehen wir im Zielszenario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37856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Schauen wir uns zuerst an, wo wir heute beim Wärmebedarf stehen und welchen Einfluss Sanierungen überhaupt haben.</a:t>
            </a:r>
          </a:p>
          <a:p>
            <a:endParaRPr lang="de-DE"/>
          </a:p>
          <a:p>
            <a:r>
              <a:rPr lang="de-DE"/>
              <a:t>Machbar und Bezahlba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8561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Einteilung der Versorgungsgebiet und Simulation der Zukunf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04801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Hohe Wärmedichte in Zentrum Niederbrechen, aber keine klaren Potenziale. - Prüfgebiet</a:t>
            </a:r>
          </a:p>
          <a:p>
            <a:r>
              <a:rPr lang="de-DE"/>
              <a:t>Alle weiteren Einzelversorgung, da es für ein Wärmenetz keinen Betreiber geben wird. - </a:t>
            </a:r>
            <a:br>
              <a:rPr lang="de-DE"/>
            </a:b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522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Prüfgebiet als Einzelversorgung angenommen</a:t>
            </a:r>
          </a:p>
          <a:p>
            <a:r>
              <a:rPr lang="de-DE"/>
              <a:t>Aus diesen Einsparungen gibt sich die Prognose des Energiebedarfs; Endenergie sinkt noch stärker auf Grund der WP</a:t>
            </a:r>
            <a:br>
              <a:rPr lang="de-DE"/>
            </a:br>
            <a:r>
              <a:rPr lang="de-DE"/>
              <a:t>Die Anzahl Heizungsart der Gebäude sehen sie rechts; Biomasse nur, wenn WP nicht mögli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915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Elektrischer Ausbau der Stromnetzes natürlich auch wichtig – Teil der Maßnahm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70431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5214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01248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62588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Gleichzeitig ist Wärmeplanung gesetzliche Pflicht für alle Kommu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1464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48464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Inhalt: Plan hat 100-150 Seiten, Projektzeitlauf in der Regel bis zu einem Jahr, heute ein kurzer Einblick in die wichtigsten Ergebnis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Übergang: Schauen wir uns an was ist denn das Ziel der Bestandsanalyse?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51006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Inhalt: Vortragsaufbau erläutern, je Baustein Start: 1 Folie Ziele des Leistungsbausteins, Ende: 1 Folie </a:t>
            </a:r>
            <a:r>
              <a:rPr lang="de-DE" err="1"/>
              <a:t>Kernerkentnisse</a:t>
            </a:r>
            <a:r>
              <a:rPr lang="de-DE"/>
              <a:t>, 4 Kernziele</a:t>
            </a:r>
          </a:p>
          <a:p>
            <a:endParaRPr lang="de-DE"/>
          </a:p>
          <a:p>
            <a:r>
              <a:rPr lang="de-DE"/>
              <a:t>Übergang: Schauen wir uns die ersten beiden Punkte doch mal genauer an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49436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Inhalt: Punkt 1 Endenergiebedarf 99,3, </a:t>
            </a:r>
            <a:r>
              <a:rPr lang="de-DE">
                <a:sym typeface="Wingdings" panose="05000000000000000000" pitchFamily="2" charset="2"/>
              </a:rPr>
              <a:t> Fokus auf den Endenergiesektor Private Haushalte</a:t>
            </a:r>
          </a:p>
          <a:p>
            <a:endParaRPr lang="de-DE">
              <a:sym typeface="Wingdings" panose="05000000000000000000" pitchFamily="2" charset="2"/>
            </a:endParaRPr>
          </a:p>
          <a:p>
            <a:r>
              <a:rPr lang="de-DE">
                <a:sym typeface="Wingdings" panose="05000000000000000000" pitchFamily="2" charset="2"/>
              </a:rPr>
              <a:t>Übergang: Nun schauen wir mal auf das Gemeindegebiet selbst, wo diese Wärme anfällt in welchen Teilbereichen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80391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75054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Im Rahmen der Wärmeplanung nur Ebene 1 und 2 Leistbar, aber immer mit Weitblick auf </a:t>
            </a:r>
            <a:r>
              <a:rPr lang="de-DE" err="1"/>
              <a:t>wirtschaftlichkeit</a:t>
            </a:r>
            <a:r>
              <a:rPr lang="de-DE"/>
              <a:t> und </a:t>
            </a:r>
            <a:r>
              <a:rPr lang="de-DE" err="1"/>
              <a:t>realisierbarkeit</a:t>
            </a:r>
            <a:endParaRPr lang="de-DE"/>
          </a:p>
          <a:p>
            <a:endParaRPr lang="de-DE"/>
          </a:p>
          <a:p>
            <a:r>
              <a:rPr lang="de-DE"/>
              <a:t>MBS z.B. durch potentielle Betreib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05629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Abwasserverband goldener Grund, Emsba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6D9F21-F8A4-AD47-AE84-B54AEB7E6098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93545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ihandform 21">
            <a:extLst>
              <a:ext uri="{FF2B5EF4-FFF2-40B4-BE49-F238E27FC236}">
                <a16:creationId xmlns:a16="http://schemas.microsoft.com/office/drawing/2014/main" id="{F6BD6A1B-542C-9B40-42FA-D5AF69F5B6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11925217" cy="6858000"/>
          </a:xfrm>
          <a:custGeom>
            <a:avLst/>
            <a:gdLst>
              <a:gd name="connsiteX0" fmla="*/ 0 w 11925217"/>
              <a:gd name="connsiteY0" fmla="*/ 0 h 6858000"/>
              <a:gd name="connsiteX1" fmla="*/ 11920432 w 11925217"/>
              <a:gd name="connsiteY1" fmla="*/ 0 h 6858000"/>
              <a:gd name="connsiteX2" fmla="*/ 11925217 w 11925217"/>
              <a:gd name="connsiteY2" fmla="*/ 189235 h 6858000"/>
              <a:gd name="connsiteX3" fmla="*/ 8176607 w 11925217"/>
              <a:gd name="connsiteY3" fmla="*/ 6847915 h 6858000"/>
              <a:gd name="connsiteX4" fmla="*/ 8159066 w 11925217"/>
              <a:gd name="connsiteY4" fmla="*/ 6858000 h 6858000"/>
              <a:gd name="connsiteX5" fmla="*/ 119638 w 11925217"/>
              <a:gd name="connsiteY5" fmla="*/ 6858000 h 6858000"/>
              <a:gd name="connsiteX6" fmla="*/ 102098 w 11925217"/>
              <a:gd name="connsiteY6" fmla="*/ 6847915 h 6858000"/>
              <a:gd name="connsiteX7" fmla="*/ 0 w 11925217"/>
              <a:gd name="connsiteY7" fmla="*/ 67824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25217" h="6858000">
                <a:moveTo>
                  <a:pt x="0" y="0"/>
                </a:moveTo>
                <a:lnTo>
                  <a:pt x="11920432" y="0"/>
                </a:lnTo>
                <a:lnTo>
                  <a:pt x="11925217" y="189235"/>
                </a:lnTo>
                <a:cubicBezTo>
                  <a:pt x="11925217" y="3011120"/>
                  <a:pt x="10423987" y="5482373"/>
                  <a:pt x="8176607" y="6847915"/>
                </a:cubicBezTo>
                <a:lnTo>
                  <a:pt x="8159066" y="6858000"/>
                </a:lnTo>
                <a:lnTo>
                  <a:pt x="119638" y="6858000"/>
                </a:lnTo>
                <a:lnTo>
                  <a:pt x="102098" y="6847915"/>
                </a:lnTo>
                <a:lnTo>
                  <a:pt x="0" y="6782461"/>
                </a:ln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noFill/>
            </a:endParaRPr>
          </a:p>
        </p:txBody>
      </p:sp>
      <p:sp>
        <p:nvSpPr>
          <p:cNvPr id="20" name="Freihandform 19">
            <a:extLst>
              <a:ext uri="{FF2B5EF4-FFF2-40B4-BE49-F238E27FC236}">
                <a16:creationId xmlns:a16="http://schemas.microsoft.com/office/drawing/2014/main" id="{2496B52E-F428-EFAD-D160-E09AA5105E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11299151" cy="6858000"/>
          </a:xfrm>
          <a:custGeom>
            <a:avLst/>
            <a:gdLst>
              <a:gd name="connsiteX0" fmla="*/ 0 w 11299151"/>
              <a:gd name="connsiteY0" fmla="*/ 0 h 6858000"/>
              <a:gd name="connsiteX1" fmla="*/ 11287986 w 11299151"/>
              <a:gd name="connsiteY1" fmla="*/ 0 h 6858000"/>
              <a:gd name="connsiteX2" fmla="*/ 11289020 w 11299151"/>
              <a:gd name="connsiteY2" fmla="*/ 13600 h 6858000"/>
              <a:gd name="connsiteX3" fmla="*/ 11299151 w 11299151"/>
              <a:gd name="connsiteY3" fmla="*/ 414260 h 6858000"/>
              <a:gd name="connsiteX4" fmla="*/ 8171694 w 11299151"/>
              <a:gd name="connsiteY4" fmla="*/ 6653350 h 6858000"/>
              <a:gd name="connsiteX5" fmla="*/ 7883906 w 11299151"/>
              <a:gd name="connsiteY5" fmla="*/ 6858000 h 6858000"/>
              <a:gd name="connsiteX6" fmla="*/ 0 w 1129915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99151" h="6858000">
                <a:moveTo>
                  <a:pt x="0" y="0"/>
                </a:moveTo>
                <a:lnTo>
                  <a:pt x="11287986" y="0"/>
                </a:lnTo>
                <a:lnTo>
                  <a:pt x="11289020" y="13600"/>
                </a:lnTo>
                <a:cubicBezTo>
                  <a:pt x="11295747" y="146304"/>
                  <a:pt x="11299151" y="279885"/>
                  <a:pt x="11299151" y="414260"/>
                </a:cubicBezTo>
                <a:cubicBezTo>
                  <a:pt x="11299151" y="2967394"/>
                  <a:pt x="10070253" y="5233503"/>
                  <a:pt x="8171694" y="6653350"/>
                </a:cubicBezTo>
                <a:lnTo>
                  <a:pt x="788390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7CC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noFill/>
            </a:endParaRP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6737C6CE-0032-560B-1F4A-8336A02F78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2339" y="2"/>
            <a:ext cx="10362059" cy="6857999"/>
          </a:xfrm>
          <a:custGeom>
            <a:avLst/>
            <a:gdLst>
              <a:gd name="connsiteX0" fmla="*/ 0 w 10362059"/>
              <a:gd name="connsiteY0" fmla="*/ 0 h 6857999"/>
              <a:gd name="connsiteX1" fmla="*/ 10333157 w 10362059"/>
              <a:gd name="connsiteY1" fmla="*/ 0 h 6857999"/>
              <a:gd name="connsiteX2" fmla="*/ 10351123 w 10362059"/>
              <a:gd name="connsiteY2" fmla="*/ 236256 h 6857999"/>
              <a:gd name="connsiteX3" fmla="*/ 10362059 w 10362059"/>
              <a:gd name="connsiteY3" fmla="*/ 668735 h 6857999"/>
              <a:gd name="connsiteX4" fmla="*/ 7900525 w 10362059"/>
              <a:gd name="connsiteY4" fmla="*/ 6611402 h 6857999"/>
              <a:gd name="connsiteX5" fmla="*/ 7641878 w 10362059"/>
              <a:gd name="connsiteY5" fmla="*/ 6857999 h 6857999"/>
              <a:gd name="connsiteX6" fmla="*/ 0 w 10362059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62059" h="6857999">
                <a:moveTo>
                  <a:pt x="0" y="0"/>
                </a:moveTo>
                <a:lnTo>
                  <a:pt x="10333157" y="0"/>
                </a:lnTo>
                <a:lnTo>
                  <a:pt x="10351123" y="236256"/>
                </a:lnTo>
                <a:cubicBezTo>
                  <a:pt x="10358383" y="379499"/>
                  <a:pt x="10362059" y="523688"/>
                  <a:pt x="10362059" y="668735"/>
                </a:cubicBezTo>
                <a:cubicBezTo>
                  <a:pt x="10362059" y="2989491"/>
                  <a:pt x="9421386" y="5090541"/>
                  <a:pt x="7900525" y="6611402"/>
                </a:cubicBezTo>
                <a:lnTo>
                  <a:pt x="764187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52BB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" name="Textplatzhalter 27">
            <a:extLst>
              <a:ext uri="{FF2B5EF4-FFF2-40B4-BE49-F238E27FC236}">
                <a16:creationId xmlns:a16="http://schemas.microsoft.com/office/drawing/2014/main" id="{BF367D4E-A9E4-52E2-F80F-669404FC1925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66762" y="549275"/>
            <a:ext cx="8491538" cy="3527425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4800" b="0" i="1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 der Präsentation</a:t>
            </a:r>
          </a:p>
        </p:txBody>
      </p:sp>
      <p:sp>
        <p:nvSpPr>
          <p:cNvPr id="4" name="Textplatzhalter 31">
            <a:extLst>
              <a:ext uri="{FF2B5EF4-FFF2-40B4-BE49-F238E27FC236}">
                <a16:creationId xmlns:a16="http://schemas.microsoft.com/office/drawing/2014/main" id="{8AFBD13C-6440-6FCD-5E1E-60F3F59ECC89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66763" y="4257675"/>
            <a:ext cx="7324045" cy="1331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Untertitel der Präsentation</a:t>
            </a:r>
          </a:p>
        </p:txBody>
      </p:sp>
      <p:sp>
        <p:nvSpPr>
          <p:cNvPr id="7" name="Textplatzhalter 31">
            <a:extLst>
              <a:ext uri="{FF2B5EF4-FFF2-40B4-BE49-F238E27FC236}">
                <a16:creationId xmlns:a16="http://schemas.microsoft.com/office/drawing/2014/main" id="{30D2279B-2E2F-D75F-DDE0-8F24DB424C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6762" y="6068239"/>
            <a:ext cx="5329238" cy="276999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20.03.2025</a:t>
            </a:r>
          </a:p>
        </p:txBody>
      </p:sp>
      <p:pic>
        <p:nvPicPr>
          <p:cNvPr id="2" name="Grafik 1" descr="Ein Bild, das Schrift, Grafiken, Logo, Grafikdesign enthält.&#10;&#10;KI-generierte Inhalte können fehlerhaft sein.">
            <a:extLst>
              <a:ext uri="{FF2B5EF4-FFF2-40B4-BE49-F238E27FC236}">
                <a16:creationId xmlns:a16="http://schemas.microsoft.com/office/drawing/2014/main" id="{2D6FA083-04F5-D2A3-ED45-747431C8F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3372" y="379868"/>
            <a:ext cx="1204428" cy="377727"/>
          </a:xfrm>
          <a:prstGeom prst="rect">
            <a:avLst/>
          </a:prstGeom>
        </p:spPr>
      </p:pic>
      <p:pic>
        <p:nvPicPr>
          <p:cNvPr id="10" name="Grafik 9" descr="Ein Bild, das Text, Schrift, Grafiken, Logo enthält.&#10;&#10;KI-generierte Inhalte können fehlerhaft sein.">
            <a:extLst>
              <a:ext uri="{FF2B5EF4-FFF2-40B4-BE49-F238E27FC236}">
                <a16:creationId xmlns:a16="http://schemas.microsoft.com/office/drawing/2014/main" id="{B655641E-33BE-CB17-41E3-B0E94B25E4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01837" y="5594400"/>
            <a:ext cx="1654803" cy="78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328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9" userDrawn="1">
          <p15:clr>
            <a:srgbClr val="000000"/>
          </p15:clr>
        </p15:guide>
        <p15:guide id="3" orient="horz" pos="2682" userDrawn="1">
          <p15:clr>
            <a:srgbClr val="000000"/>
          </p15:clr>
        </p15:guide>
        <p15:guide id="5" orient="horz" pos="2568" userDrawn="1">
          <p15:clr>
            <a:srgbClr val="00000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C16C34D-80FB-EA0E-2052-016615BB52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9469" y="2"/>
            <a:ext cx="9824406" cy="6857998"/>
          </a:xfrm>
          <a:custGeom>
            <a:avLst/>
            <a:gdLst>
              <a:gd name="connsiteX0" fmla="*/ 0 w 9824406"/>
              <a:gd name="connsiteY0" fmla="*/ 0 h 6857999"/>
              <a:gd name="connsiteX1" fmla="*/ 9303417 w 9824406"/>
              <a:gd name="connsiteY1" fmla="*/ 0 h 6857999"/>
              <a:gd name="connsiteX2" fmla="*/ 9325183 w 9824406"/>
              <a:gd name="connsiteY2" fmla="*/ 48145 h 6857999"/>
              <a:gd name="connsiteX3" fmla="*/ 9824406 w 9824406"/>
              <a:gd name="connsiteY3" fmla="*/ 2520886 h 6857999"/>
              <a:gd name="connsiteX4" fmla="*/ 8174101 w 9824406"/>
              <a:gd name="connsiteY4" fmla="*/ 6792270 h 6857999"/>
              <a:gd name="connsiteX5" fmla="*/ 8111433 w 9824406"/>
              <a:gd name="connsiteY5" fmla="*/ 6857999 h 6857999"/>
              <a:gd name="connsiteX6" fmla="*/ 0 w 982440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24406" h="6857999">
                <a:moveTo>
                  <a:pt x="0" y="0"/>
                </a:moveTo>
                <a:lnTo>
                  <a:pt x="9303417" y="0"/>
                </a:lnTo>
                <a:lnTo>
                  <a:pt x="9325183" y="48145"/>
                </a:lnTo>
                <a:cubicBezTo>
                  <a:pt x="9646645" y="808166"/>
                  <a:pt x="9824406" y="1643767"/>
                  <a:pt x="9824406" y="2520886"/>
                </a:cubicBezTo>
                <a:cubicBezTo>
                  <a:pt x="9824406" y="4165484"/>
                  <a:pt x="9199464" y="5664119"/>
                  <a:pt x="8174101" y="6792270"/>
                </a:cubicBezTo>
                <a:lnTo>
                  <a:pt x="8111433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52BB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8B7771C7-613A-4AF4-4D90-2268554C5E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9469" y="0"/>
            <a:ext cx="9346938" cy="6858000"/>
          </a:xfrm>
          <a:custGeom>
            <a:avLst/>
            <a:gdLst>
              <a:gd name="connsiteX0" fmla="*/ 0 w 9346938"/>
              <a:gd name="connsiteY0" fmla="*/ 0 h 6857999"/>
              <a:gd name="connsiteX1" fmla="*/ 9003123 w 9346938"/>
              <a:gd name="connsiteY1" fmla="*/ 0 h 6857999"/>
              <a:gd name="connsiteX2" fmla="*/ 9061335 w 9346938"/>
              <a:gd name="connsiteY2" fmla="*/ 172040 h 6857999"/>
              <a:gd name="connsiteX3" fmla="*/ 9346938 w 9346938"/>
              <a:gd name="connsiteY3" fmla="*/ 2061126 h 6857999"/>
              <a:gd name="connsiteX4" fmla="*/ 7265664 w 9346938"/>
              <a:gd name="connsiteY4" fmla="*/ 6763478 h 6857999"/>
              <a:gd name="connsiteX5" fmla="*/ 7156545 w 9346938"/>
              <a:gd name="connsiteY5" fmla="*/ 6857999 h 6857999"/>
              <a:gd name="connsiteX6" fmla="*/ 0 w 9346938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46938" h="6857999">
                <a:moveTo>
                  <a:pt x="0" y="0"/>
                </a:moveTo>
                <a:lnTo>
                  <a:pt x="9003123" y="0"/>
                </a:lnTo>
                <a:lnTo>
                  <a:pt x="9061335" y="172040"/>
                </a:lnTo>
                <a:cubicBezTo>
                  <a:pt x="9246947" y="768802"/>
                  <a:pt x="9346938" y="1403287"/>
                  <a:pt x="9346938" y="2061126"/>
                </a:cubicBezTo>
                <a:cubicBezTo>
                  <a:pt x="9346938" y="3925004"/>
                  <a:pt x="8544234" y="5601400"/>
                  <a:pt x="7265664" y="6763478"/>
                </a:cubicBezTo>
                <a:lnTo>
                  <a:pt x="7156545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BDD6C99-6449-5BEC-DC43-3873224B74F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9469" y="1"/>
            <a:ext cx="8649297" cy="6858000"/>
          </a:xfrm>
          <a:custGeom>
            <a:avLst/>
            <a:gdLst>
              <a:gd name="connsiteX0" fmla="*/ 0 w 8639828"/>
              <a:gd name="connsiteY0" fmla="*/ 0 h 6858001"/>
              <a:gd name="connsiteX1" fmla="*/ 8425198 w 8639828"/>
              <a:gd name="connsiteY1" fmla="*/ 0 h 6858001"/>
              <a:gd name="connsiteX2" fmla="*/ 8441487 w 8639828"/>
              <a:gd name="connsiteY2" fmla="*/ 57365 h 6858001"/>
              <a:gd name="connsiteX3" fmla="*/ 8639828 w 8639828"/>
              <a:gd name="connsiteY3" fmla="*/ 1631834 h 6858001"/>
              <a:gd name="connsiteX4" fmla="*/ 5862218 w 8639828"/>
              <a:gd name="connsiteY4" fmla="*/ 6855894 h 6858001"/>
              <a:gd name="connsiteX5" fmla="*/ 5858932 w 8639828"/>
              <a:gd name="connsiteY5" fmla="*/ 6858001 h 6858001"/>
              <a:gd name="connsiteX6" fmla="*/ 0 w 8639828"/>
              <a:gd name="connsiteY6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39828" h="6858001">
                <a:moveTo>
                  <a:pt x="0" y="0"/>
                </a:moveTo>
                <a:lnTo>
                  <a:pt x="8425198" y="0"/>
                </a:lnTo>
                <a:lnTo>
                  <a:pt x="8441487" y="57365"/>
                </a:lnTo>
                <a:cubicBezTo>
                  <a:pt x="8570966" y="560606"/>
                  <a:pt x="8639828" y="1088179"/>
                  <a:pt x="8639828" y="1631834"/>
                </a:cubicBezTo>
                <a:cubicBezTo>
                  <a:pt x="8639828" y="3806455"/>
                  <a:pt x="7538029" y="5723739"/>
                  <a:pt x="5862218" y="6855894"/>
                </a:cubicBezTo>
                <a:lnTo>
                  <a:pt x="5858932" y="6858001"/>
                </a:lnTo>
                <a:lnTo>
                  <a:pt x="0" y="6858001"/>
                </a:lnTo>
                <a:close/>
              </a:path>
            </a:pathLst>
          </a:custGeom>
          <a:solidFill>
            <a:srgbClr val="DDDBDA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29" name="Textplatzhalter 49">
            <a:extLst>
              <a:ext uri="{FF2B5EF4-FFF2-40B4-BE49-F238E27FC236}">
                <a16:creationId xmlns:a16="http://schemas.microsoft.com/office/drawing/2014/main" id="{87BD881F-5DC1-D312-0DF0-C69F116329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3949" y="549275"/>
            <a:ext cx="1292916" cy="339526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>
              <a:buNone/>
              <a:defRPr sz="16500" b="0" i="0">
                <a:solidFill>
                  <a:schemeClr val="bg1"/>
                </a:solidFill>
                <a:latin typeface="Innogy Medium" panose="020B0503040000020003" pitchFamily="34" charset="0"/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3" name="Textplatzhalter 27">
            <a:extLst>
              <a:ext uri="{FF2B5EF4-FFF2-40B4-BE49-F238E27FC236}">
                <a16:creationId xmlns:a16="http://schemas.microsoft.com/office/drawing/2014/main" id="{1804121D-58EE-AC15-744C-C388BFAE0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03173" y="549275"/>
            <a:ext cx="6162818" cy="3023702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90000"/>
              </a:lnSpc>
              <a:buNone/>
              <a:defRPr sz="4800" b="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Titel</a:t>
            </a:r>
          </a:p>
          <a:p>
            <a:pPr lvl="0"/>
            <a:r>
              <a:rPr lang="de-DE" err="1"/>
              <a:t>Kapiteltrenner</a:t>
            </a:r>
            <a:endParaRPr lang="de-DE"/>
          </a:p>
        </p:txBody>
      </p:sp>
      <p:sp>
        <p:nvSpPr>
          <p:cNvPr id="11" name="Textplatzhalter 31">
            <a:extLst>
              <a:ext uri="{FF2B5EF4-FFF2-40B4-BE49-F238E27FC236}">
                <a16:creationId xmlns:a16="http://schemas.microsoft.com/office/drawing/2014/main" id="{61A2FC73-F59C-B9AF-82EC-473637A09A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03173" y="3752349"/>
            <a:ext cx="5471054" cy="1331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01A641E9-E91C-88EB-401B-BD78D9F494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01837" y="551134"/>
            <a:ext cx="1654802" cy="78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72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9" userDrawn="1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E8407B6-C367-9613-33D5-35E66E8CB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F2814BC-55D7-7B4A-0013-6C4750B7A4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66763" y="1989100"/>
            <a:ext cx="10658475" cy="4140200"/>
          </a:xfrm>
        </p:spPr>
        <p:txBody>
          <a:bodyPr/>
          <a:lstStyle>
            <a:lvl5pPr>
              <a:defRPr/>
            </a:lvl5pPr>
            <a:lvl6pPr marL="864000" indent="0">
              <a:buNone/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22DB6B7-5143-3FD0-7E09-98AD521596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9409E5D-9305-EA7C-9F75-D119019A8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1740F9B-20A2-D5BC-685C-CDF1735E16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091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1 Spalte negativ">
    <p:bg>
      <p:bgPr>
        <a:solidFill>
          <a:srgbClr val="52BB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E8407B6-C367-9613-33D5-35E66E8CB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62B06A0D-0315-A03E-5EEE-351E3DEABFD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66763" y="1989138"/>
            <a:ext cx="10658475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864000" indent="0">
              <a:buNone/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22DB6B7-5143-3FD0-7E09-98AD521596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61716CE-7AF7-5B7A-E081-D3A9A39EC2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7070898-B55F-4A4D-029F-EF55F0A65B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2" y="548680"/>
            <a:ext cx="1149995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9406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EC5D81E-BF88-5111-E3F2-EE1B2E085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705479-708B-7574-06E8-276449E76E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4AD9153F-705F-7727-3E53-551BCD2BD2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6C62FBF-1AA5-5CD4-EBCF-AF5BFE2AA62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6763" y="1989138"/>
            <a:ext cx="4789487" cy="4140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916E46B-7812-65CD-7AEB-B284DA1241C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635750" y="1989138"/>
            <a:ext cx="4789488" cy="4140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5003B6E-9849-AA9F-20D9-23413413FD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129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80" userDrawn="1">
          <p15:clr>
            <a:srgbClr val="000000"/>
          </p15:clr>
        </p15:guide>
        <p15:guide id="2" pos="3500" userDrawn="1">
          <p15:clr>
            <a:srgbClr val="00000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2 Spalten negativ">
    <p:bg>
      <p:bgPr>
        <a:solidFill>
          <a:srgbClr val="52BB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EC5D81E-BF88-5111-E3F2-EE1B2E085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705479-708B-7574-06E8-276449E76E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4AD9153F-705F-7727-3E53-551BCD2BD2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F96AA87D-F7E1-B283-603D-C5F6925D90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6763" y="1989138"/>
            <a:ext cx="4789487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B71DABB-E1B8-B414-DAE5-1276C91EA44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635750" y="1989138"/>
            <a:ext cx="4789488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09ED60D-3D1D-7E03-7903-70EB01E359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2" y="548680"/>
            <a:ext cx="1149995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14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80" userDrawn="1">
          <p15:clr>
            <a:srgbClr val="000000"/>
          </p15:clr>
        </p15:guide>
        <p15:guide id="2" pos="3500" userDrawn="1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10D9367-4CD4-E717-E12C-9005D7479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5C1571-D5E1-F9ED-A673-0470826EA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E466CF1A-F950-3EEA-725D-E4F519AC30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9330A2B6-CBF4-BCD3-7A2B-A34795E5902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66763" y="1989138"/>
            <a:ext cx="3097212" cy="4140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5AC6C797-464D-DB14-CA9D-C8B01B3BCE7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48188" y="1989138"/>
            <a:ext cx="3095625" cy="4140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FE00B04C-1537-EADA-934E-D1C208093E8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36019" y="1989138"/>
            <a:ext cx="3097212" cy="4140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621D8DE-3F3F-3790-1714-27BD73D1C2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392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4" userDrawn="1">
          <p15:clr>
            <a:srgbClr val="000000"/>
          </p15:clr>
        </p15:guide>
        <p15:guide id="2" pos="2865" userDrawn="1">
          <p15:clr>
            <a:srgbClr val="000000"/>
          </p15:clr>
        </p15:guide>
        <p15:guide id="3" pos="4815" userDrawn="1">
          <p15:clr>
            <a:srgbClr val="000000"/>
          </p15:clr>
        </p15:guide>
        <p15:guide id="4" pos="5246" userDrawn="1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3 Spalten negativ">
    <p:bg>
      <p:bgPr>
        <a:solidFill>
          <a:srgbClr val="52BB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10D9367-4CD4-E717-E12C-9005D7479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5C1571-D5E1-F9ED-A673-0470826EA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E466CF1A-F950-3EEA-725D-E4F519AC30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5E03E2-7B55-EBCC-A4E0-3B179E46690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6762" y="1989138"/>
            <a:ext cx="3097213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D2832D3B-C8B9-A272-A4C3-E6D4EF94D6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48188" y="1989138"/>
            <a:ext cx="3097213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627C524D-BA66-6FB6-E6EE-5AC4F90BB18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28025" y="1989138"/>
            <a:ext cx="3097213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2747604-A43F-DA89-D6B9-9D87755745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2" y="548680"/>
            <a:ext cx="1149995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279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4" userDrawn="1">
          <p15:clr>
            <a:srgbClr val="000000"/>
          </p15:clr>
        </p15:guide>
        <p15:guide id="2" pos="2865" userDrawn="1">
          <p15:clr>
            <a:srgbClr val="000000"/>
          </p15:clr>
        </p15:guide>
        <p15:guide id="3" pos="4815" userDrawn="1">
          <p15:clr>
            <a:srgbClr val="000000"/>
          </p15:clr>
        </p15:guide>
        <p15:guide id="4" pos="5246" userDrawn="1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E9EA52F-A3D5-B05A-9E45-D040B98A71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D300310-57D8-2453-D42C-CDA08ECD25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1D431B30-8D02-9225-A923-FF35E165C3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91A32C9E-6D14-C219-85FE-3FC36509246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6763" y="1989138"/>
            <a:ext cx="2376488" cy="4140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C5137DD6-8F0B-9C5C-CEE0-BDE54C7DDF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40125" y="1989138"/>
            <a:ext cx="2376488" cy="4140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80C5F28-C6C3-825F-B2A5-3668C616248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75387" y="1989138"/>
            <a:ext cx="2376488" cy="4140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1D10E79D-6A1C-E912-C584-658D070F41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48749" y="1988969"/>
            <a:ext cx="2376488" cy="4140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CD16D51-96C5-C228-15A8-3A84B10A49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413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230" userDrawn="1">
          <p15:clr>
            <a:srgbClr val="000000"/>
          </p15:clr>
        </p15:guide>
        <p15:guide id="3" pos="1980" userDrawn="1">
          <p15:clr>
            <a:srgbClr val="000000"/>
          </p15:clr>
        </p15:guide>
        <p15:guide id="4" pos="5700" userDrawn="1">
          <p15:clr>
            <a:srgbClr val="000000"/>
          </p15:clr>
        </p15:guide>
        <p15:guide id="5" pos="3727" userDrawn="1">
          <p15:clr>
            <a:srgbClr val="000000"/>
          </p15:clr>
        </p15:guide>
        <p15:guide id="6" pos="5450" userDrawn="1">
          <p15:clr>
            <a:srgbClr val="000000"/>
          </p15:clr>
        </p15:guide>
        <p15:guide id="7" pos="3953" userDrawn="1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4 Spalten negativ">
    <p:bg>
      <p:bgPr>
        <a:solidFill>
          <a:srgbClr val="52BB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E9EA52F-A3D5-B05A-9E45-D040B98A71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D300310-57D8-2453-D42C-CDA08ECD25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1D431B30-8D02-9225-A923-FF35E165C3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91A32C9E-6D14-C219-85FE-3FC36509246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6763" y="1989138"/>
            <a:ext cx="2376488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C5137DD6-8F0B-9C5C-CEE0-BDE54C7DDF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40125" y="1989138"/>
            <a:ext cx="2376488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80C5F28-C6C3-825F-B2A5-3668C616248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75387" y="1989138"/>
            <a:ext cx="2376488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1D10E79D-6A1C-E912-C584-658D070F41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48749" y="1988969"/>
            <a:ext cx="2376488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BD11B91-C443-1EDB-4D45-1046CFF03A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2" y="548680"/>
            <a:ext cx="1149995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380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230" userDrawn="1">
          <p15:clr>
            <a:srgbClr val="000000"/>
          </p15:clr>
        </p15:guide>
        <p15:guide id="3" pos="1980" userDrawn="1">
          <p15:clr>
            <a:srgbClr val="000000"/>
          </p15:clr>
        </p15:guide>
        <p15:guide id="4" pos="5700" userDrawn="1">
          <p15:clr>
            <a:srgbClr val="000000"/>
          </p15:clr>
        </p15:guide>
        <p15:guide id="5" pos="3727" userDrawn="1">
          <p15:clr>
            <a:srgbClr val="000000"/>
          </p15:clr>
        </p15:guide>
        <p15:guide id="6" pos="5450" userDrawn="1">
          <p15:clr>
            <a:srgbClr val="000000"/>
          </p15:clr>
        </p15:guide>
        <p15:guide id="7" pos="3953" userDrawn="1">
          <p15:clr>
            <a:srgbClr val="00000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5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34B6F22-2449-805D-4BF0-0F2376D49A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184C8E5-1091-80E9-8A9A-C9D05622D7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67159BA1-1298-6281-6C5B-86A2F4FF5E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F1F4AC4B-90BC-BB01-F8E4-46EB0C3090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66762" y="1996464"/>
            <a:ext cx="1908176" cy="413287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35A9AC25-4CC8-DF42-93FB-5911DAD7329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963863" y="1996464"/>
            <a:ext cx="1908176" cy="413287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77018BA5-B200-BF69-378A-8776DDDCE69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59374" y="1996464"/>
            <a:ext cx="1908176" cy="413287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451B351-A58C-EA63-8A87-E454250A6C2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19963" y="1996464"/>
            <a:ext cx="1908176" cy="413287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863B363A-6F17-9B22-2686-32CB39EC8D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17064" y="1996464"/>
            <a:ext cx="1908176" cy="413287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7F64EF-BB62-EA1F-28AC-0988B6B481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392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85" userDrawn="1">
          <p15:clr>
            <a:srgbClr val="000000"/>
          </p15:clr>
        </p15:guide>
        <p15:guide id="2" pos="1867" userDrawn="1">
          <p15:clr>
            <a:srgbClr val="000000"/>
          </p15:clr>
        </p15:guide>
        <p15:guide id="3" pos="3069" userDrawn="1">
          <p15:clr>
            <a:srgbClr val="000000"/>
          </p15:clr>
        </p15:guide>
        <p15:guide id="4" pos="3250" userDrawn="1">
          <p15:clr>
            <a:srgbClr val="000000"/>
          </p15:clr>
        </p15:guide>
        <p15:guide id="5" pos="4452" userDrawn="1">
          <p15:clr>
            <a:srgbClr val="000000"/>
          </p15:clr>
        </p15:guide>
        <p15:guide id="6" pos="4611" userDrawn="1">
          <p15:clr>
            <a:srgbClr val="000000"/>
          </p15:clr>
        </p15:guide>
        <p15:guide id="7" pos="5813" userDrawn="1">
          <p15:clr>
            <a:srgbClr val="000000"/>
          </p15:clr>
        </p15:guide>
        <p15:guide id="8" pos="5995" userDrawn="1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ihandform 21">
            <a:extLst>
              <a:ext uri="{FF2B5EF4-FFF2-40B4-BE49-F238E27FC236}">
                <a16:creationId xmlns:a16="http://schemas.microsoft.com/office/drawing/2014/main" id="{F6BD6A1B-542C-9B40-42FA-D5AF69F5B6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11925217" cy="6858000"/>
          </a:xfrm>
          <a:custGeom>
            <a:avLst/>
            <a:gdLst>
              <a:gd name="connsiteX0" fmla="*/ 0 w 11925217"/>
              <a:gd name="connsiteY0" fmla="*/ 0 h 6858000"/>
              <a:gd name="connsiteX1" fmla="*/ 11920432 w 11925217"/>
              <a:gd name="connsiteY1" fmla="*/ 0 h 6858000"/>
              <a:gd name="connsiteX2" fmla="*/ 11925217 w 11925217"/>
              <a:gd name="connsiteY2" fmla="*/ 189235 h 6858000"/>
              <a:gd name="connsiteX3" fmla="*/ 8176607 w 11925217"/>
              <a:gd name="connsiteY3" fmla="*/ 6847915 h 6858000"/>
              <a:gd name="connsiteX4" fmla="*/ 8159066 w 11925217"/>
              <a:gd name="connsiteY4" fmla="*/ 6858000 h 6858000"/>
              <a:gd name="connsiteX5" fmla="*/ 119638 w 11925217"/>
              <a:gd name="connsiteY5" fmla="*/ 6858000 h 6858000"/>
              <a:gd name="connsiteX6" fmla="*/ 102098 w 11925217"/>
              <a:gd name="connsiteY6" fmla="*/ 6847915 h 6858000"/>
              <a:gd name="connsiteX7" fmla="*/ 0 w 11925217"/>
              <a:gd name="connsiteY7" fmla="*/ 67824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25217" h="6858000">
                <a:moveTo>
                  <a:pt x="0" y="0"/>
                </a:moveTo>
                <a:lnTo>
                  <a:pt x="11920432" y="0"/>
                </a:lnTo>
                <a:lnTo>
                  <a:pt x="11925217" y="189235"/>
                </a:lnTo>
                <a:cubicBezTo>
                  <a:pt x="11925217" y="3011120"/>
                  <a:pt x="10423987" y="5482373"/>
                  <a:pt x="8176607" y="6847915"/>
                </a:cubicBezTo>
                <a:lnTo>
                  <a:pt x="8159066" y="6858000"/>
                </a:lnTo>
                <a:lnTo>
                  <a:pt x="119638" y="6858000"/>
                </a:lnTo>
                <a:lnTo>
                  <a:pt x="102098" y="6847915"/>
                </a:lnTo>
                <a:lnTo>
                  <a:pt x="0" y="6782461"/>
                </a:lnTo>
                <a:close/>
              </a:path>
            </a:pathLst>
          </a:custGeom>
          <a:solidFill>
            <a:srgbClr val="52BB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noFill/>
            </a:endParaRPr>
          </a:p>
        </p:txBody>
      </p:sp>
      <p:sp>
        <p:nvSpPr>
          <p:cNvPr id="20" name="Freihandform 19">
            <a:extLst>
              <a:ext uri="{FF2B5EF4-FFF2-40B4-BE49-F238E27FC236}">
                <a16:creationId xmlns:a16="http://schemas.microsoft.com/office/drawing/2014/main" id="{2496B52E-F428-EFAD-D160-E09AA5105E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11299151" cy="6858000"/>
          </a:xfrm>
          <a:custGeom>
            <a:avLst/>
            <a:gdLst>
              <a:gd name="connsiteX0" fmla="*/ 0 w 11299151"/>
              <a:gd name="connsiteY0" fmla="*/ 0 h 6858000"/>
              <a:gd name="connsiteX1" fmla="*/ 11287986 w 11299151"/>
              <a:gd name="connsiteY1" fmla="*/ 0 h 6858000"/>
              <a:gd name="connsiteX2" fmla="*/ 11289020 w 11299151"/>
              <a:gd name="connsiteY2" fmla="*/ 13600 h 6858000"/>
              <a:gd name="connsiteX3" fmla="*/ 11299151 w 11299151"/>
              <a:gd name="connsiteY3" fmla="*/ 414260 h 6858000"/>
              <a:gd name="connsiteX4" fmla="*/ 8171694 w 11299151"/>
              <a:gd name="connsiteY4" fmla="*/ 6653350 h 6858000"/>
              <a:gd name="connsiteX5" fmla="*/ 7883906 w 11299151"/>
              <a:gd name="connsiteY5" fmla="*/ 6858000 h 6858000"/>
              <a:gd name="connsiteX6" fmla="*/ 0 w 1129915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99151" h="6858000">
                <a:moveTo>
                  <a:pt x="0" y="0"/>
                </a:moveTo>
                <a:lnTo>
                  <a:pt x="11287986" y="0"/>
                </a:lnTo>
                <a:lnTo>
                  <a:pt x="11289020" y="13600"/>
                </a:lnTo>
                <a:cubicBezTo>
                  <a:pt x="11295747" y="146304"/>
                  <a:pt x="11299151" y="279885"/>
                  <a:pt x="11299151" y="414260"/>
                </a:cubicBezTo>
                <a:cubicBezTo>
                  <a:pt x="11299151" y="2967394"/>
                  <a:pt x="10070253" y="5233503"/>
                  <a:pt x="8171694" y="6653350"/>
                </a:cubicBezTo>
                <a:lnTo>
                  <a:pt x="788390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noFill/>
            </a:endParaRP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6737C6CE-0032-560B-1F4A-8336A02F78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2339" y="2"/>
            <a:ext cx="10362059" cy="6857999"/>
          </a:xfrm>
          <a:custGeom>
            <a:avLst/>
            <a:gdLst>
              <a:gd name="connsiteX0" fmla="*/ 0 w 10362059"/>
              <a:gd name="connsiteY0" fmla="*/ 0 h 6857999"/>
              <a:gd name="connsiteX1" fmla="*/ 10333157 w 10362059"/>
              <a:gd name="connsiteY1" fmla="*/ 0 h 6857999"/>
              <a:gd name="connsiteX2" fmla="*/ 10351123 w 10362059"/>
              <a:gd name="connsiteY2" fmla="*/ 236256 h 6857999"/>
              <a:gd name="connsiteX3" fmla="*/ 10362059 w 10362059"/>
              <a:gd name="connsiteY3" fmla="*/ 668735 h 6857999"/>
              <a:gd name="connsiteX4" fmla="*/ 7900525 w 10362059"/>
              <a:gd name="connsiteY4" fmla="*/ 6611402 h 6857999"/>
              <a:gd name="connsiteX5" fmla="*/ 7641878 w 10362059"/>
              <a:gd name="connsiteY5" fmla="*/ 6857999 h 6857999"/>
              <a:gd name="connsiteX6" fmla="*/ 0 w 10362059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62059" h="6857999">
                <a:moveTo>
                  <a:pt x="0" y="0"/>
                </a:moveTo>
                <a:lnTo>
                  <a:pt x="10333157" y="0"/>
                </a:lnTo>
                <a:lnTo>
                  <a:pt x="10351123" y="236256"/>
                </a:lnTo>
                <a:cubicBezTo>
                  <a:pt x="10358383" y="379499"/>
                  <a:pt x="10362059" y="523688"/>
                  <a:pt x="10362059" y="668735"/>
                </a:cubicBezTo>
                <a:cubicBezTo>
                  <a:pt x="10362059" y="2989491"/>
                  <a:pt x="9421386" y="5090541"/>
                  <a:pt x="7900525" y="6611402"/>
                </a:cubicBezTo>
                <a:lnTo>
                  <a:pt x="764187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7CC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" name="Textplatzhalter 27">
            <a:extLst>
              <a:ext uri="{FF2B5EF4-FFF2-40B4-BE49-F238E27FC236}">
                <a16:creationId xmlns:a16="http://schemas.microsoft.com/office/drawing/2014/main" id="{BF367D4E-A9E4-52E2-F80F-669404FC1925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66762" y="549275"/>
            <a:ext cx="8491538" cy="3527425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4800" b="0" i="1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 der Präsentation</a:t>
            </a:r>
          </a:p>
        </p:txBody>
      </p:sp>
      <p:sp>
        <p:nvSpPr>
          <p:cNvPr id="4" name="Textplatzhalter 31">
            <a:extLst>
              <a:ext uri="{FF2B5EF4-FFF2-40B4-BE49-F238E27FC236}">
                <a16:creationId xmlns:a16="http://schemas.microsoft.com/office/drawing/2014/main" id="{8AFBD13C-6440-6FCD-5E1E-60F3F59ECC89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66763" y="4257675"/>
            <a:ext cx="7324045" cy="1331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Untertitel der Präsentation</a:t>
            </a:r>
          </a:p>
        </p:txBody>
      </p:sp>
      <p:sp>
        <p:nvSpPr>
          <p:cNvPr id="7" name="Textplatzhalter 31">
            <a:extLst>
              <a:ext uri="{FF2B5EF4-FFF2-40B4-BE49-F238E27FC236}">
                <a16:creationId xmlns:a16="http://schemas.microsoft.com/office/drawing/2014/main" id="{30D2279B-2E2F-D75F-DDE0-8F24DB424C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6762" y="6068239"/>
            <a:ext cx="5329238" cy="276999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20.03.2025</a:t>
            </a:r>
          </a:p>
        </p:txBody>
      </p:sp>
      <p:pic>
        <p:nvPicPr>
          <p:cNvPr id="10" name="Grafik 9" descr="Ein Bild, das Schrift, Grafiken, Logo, Grafikdesign enthält.&#10;&#10;KI-generierte Inhalte können fehlerhaft sein.">
            <a:extLst>
              <a:ext uri="{FF2B5EF4-FFF2-40B4-BE49-F238E27FC236}">
                <a16:creationId xmlns:a16="http://schemas.microsoft.com/office/drawing/2014/main" id="{CC4366ED-BA07-6405-9FCC-77E45BC1E6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3372" y="379868"/>
            <a:ext cx="1204428" cy="377727"/>
          </a:xfrm>
          <a:prstGeom prst="rect">
            <a:avLst/>
          </a:prstGeom>
        </p:spPr>
      </p:pic>
      <p:pic>
        <p:nvPicPr>
          <p:cNvPr id="12" name="Grafik 11" descr="Ein Bild, das Text, Schrift, Grafiken, Logo enthält.&#10;&#10;KI-generierte Inhalte können fehlerhaft sein.">
            <a:extLst>
              <a:ext uri="{FF2B5EF4-FFF2-40B4-BE49-F238E27FC236}">
                <a16:creationId xmlns:a16="http://schemas.microsoft.com/office/drawing/2014/main" id="{DCAB46EA-A26F-E2C3-F0A2-F28A165F3E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01837" y="5594400"/>
            <a:ext cx="1654803" cy="78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92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9" userDrawn="1">
          <p15:clr>
            <a:srgbClr val="000000"/>
          </p15:clr>
        </p15:guide>
        <p15:guide id="3" orient="horz" pos="2682" userDrawn="1">
          <p15:clr>
            <a:srgbClr val="000000"/>
          </p15:clr>
        </p15:guide>
        <p15:guide id="5" orient="horz" pos="2568" userDrawn="1">
          <p15:clr>
            <a:srgbClr val="00000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5 Spalten negativ">
    <p:bg>
      <p:bgPr>
        <a:solidFill>
          <a:srgbClr val="52BB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34B6F22-2449-805D-4BF0-0F2376D49A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184C8E5-1091-80E9-8A9A-C9D05622D7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67159BA1-1298-6281-6C5B-86A2F4FF5E7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F1F4AC4B-90BC-BB01-F8E4-46EB0C3090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66762" y="1996464"/>
            <a:ext cx="1908176" cy="41328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35A9AC25-4CC8-DF42-93FB-5911DAD7329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963863" y="1996464"/>
            <a:ext cx="1908176" cy="41328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77018BA5-B200-BF69-378A-8776DDDCE69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59374" y="1996464"/>
            <a:ext cx="1908176" cy="41328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451B351-A58C-EA63-8A87-E454250A6C2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19963" y="1996464"/>
            <a:ext cx="1908176" cy="41328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863B363A-6F17-9B22-2686-32CB39EC8D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17064" y="1996464"/>
            <a:ext cx="1908176" cy="41328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4AACFD1-4923-4771-43B0-E0BA84E1E8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2" y="548680"/>
            <a:ext cx="1149995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85" userDrawn="1">
          <p15:clr>
            <a:srgbClr val="000000"/>
          </p15:clr>
        </p15:guide>
        <p15:guide id="2" pos="1867" userDrawn="1">
          <p15:clr>
            <a:srgbClr val="000000"/>
          </p15:clr>
        </p15:guide>
        <p15:guide id="3" pos="3069" userDrawn="1">
          <p15:clr>
            <a:srgbClr val="000000"/>
          </p15:clr>
        </p15:guide>
        <p15:guide id="4" pos="3250" userDrawn="1">
          <p15:clr>
            <a:srgbClr val="000000"/>
          </p15:clr>
        </p15:guide>
        <p15:guide id="5" pos="4452" userDrawn="1">
          <p15:clr>
            <a:srgbClr val="000000"/>
          </p15:clr>
        </p15:guide>
        <p15:guide id="6" pos="4611" userDrawn="1">
          <p15:clr>
            <a:srgbClr val="000000"/>
          </p15:clr>
        </p15:guide>
        <p15:guide id="7" pos="5813" userDrawn="1">
          <p15:clr>
            <a:srgbClr val="000000"/>
          </p15:clr>
        </p15:guide>
        <p15:guide id="8" pos="5995" userDrawn="1">
          <p15:clr>
            <a:srgbClr val="000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mit Bi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E8407B6-C367-9613-33D5-35E66E8CB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8" y="549275"/>
            <a:ext cx="5324071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ADBE653-ABEA-D69B-2FE7-368BB50C95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5FBC4DA-EFAA-0F50-B4BD-BF0D0E5C018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6763" y="1989138"/>
            <a:ext cx="5324475" cy="4140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12755BF7-2A20-9D05-FC8A-EDCB2FD66F5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61090" y="0"/>
            <a:ext cx="5730909" cy="685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7E6F7A6-AD5E-49BF-9B3A-1D0D7D93AE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6422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mit 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 14">
            <a:extLst>
              <a:ext uri="{FF2B5EF4-FFF2-40B4-BE49-F238E27FC236}">
                <a16:creationId xmlns:a16="http://schemas.microsoft.com/office/drawing/2014/main" id="{05C60A28-CAC4-B3C5-2673-01F80839A2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21028" y="863716"/>
            <a:ext cx="5870973" cy="5994285"/>
          </a:xfrm>
          <a:custGeom>
            <a:avLst/>
            <a:gdLst>
              <a:gd name="connsiteX0" fmla="*/ 5329236 w 5870973"/>
              <a:gd name="connsiteY0" fmla="*/ 0 h 5994285"/>
              <a:gd name="connsiteX1" fmla="*/ 5603478 w 5870973"/>
              <a:gd name="connsiteY1" fmla="*/ 6798 h 5994285"/>
              <a:gd name="connsiteX2" fmla="*/ 5870973 w 5870973"/>
              <a:gd name="connsiteY2" fmla="*/ 26736 h 5994285"/>
              <a:gd name="connsiteX3" fmla="*/ 5870973 w 5870973"/>
              <a:gd name="connsiteY3" fmla="*/ 5994285 h 5994285"/>
              <a:gd name="connsiteX4" fmla="*/ 58134 w 5870973"/>
              <a:gd name="connsiteY4" fmla="*/ 5994285 h 5994285"/>
              <a:gd name="connsiteX5" fmla="*/ 27514 w 5870973"/>
              <a:gd name="connsiteY5" fmla="*/ 5758073 h 5994285"/>
              <a:gd name="connsiteX6" fmla="*/ 0 w 5870973"/>
              <a:gd name="connsiteY6" fmla="*/ 5223954 h 5994285"/>
              <a:gd name="connsiteX7" fmla="*/ 5329236 w 5870973"/>
              <a:gd name="connsiteY7" fmla="*/ 0 h 5994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70973" h="5994285">
                <a:moveTo>
                  <a:pt x="5329236" y="0"/>
                </a:moveTo>
                <a:cubicBezTo>
                  <a:pt x="5421213" y="0"/>
                  <a:pt x="5512645" y="2284"/>
                  <a:pt x="5603478" y="6798"/>
                </a:cubicBezTo>
                <a:lnTo>
                  <a:pt x="5870973" y="26736"/>
                </a:lnTo>
                <a:lnTo>
                  <a:pt x="5870973" y="5994285"/>
                </a:lnTo>
                <a:lnTo>
                  <a:pt x="58134" y="5994285"/>
                </a:lnTo>
                <a:lnTo>
                  <a:pt x="27514" y="5758073"/>
                </a:lnTo>
                <a:cubicBezTo>
                  <a:pt x="9320" y="5582459"/>
                  <a:pt x="0" y="5404274"/>
                  <a:pt x="0" y="5223954"/>
                </a:cubicBezTo>
                <a:cubicBezTo>
                  <a:pt x="0" y="2338844"/>
                  <a:pt x="2385980" y="0"/>
                  <a:pt x="5329236" y="0"/>
                </a:cubicBez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noFill/>
            </a:endParaRPr>
          </a:p>
        </p:txBody>
      </p:sp>
      <p:sp>
        <p:nvSpPr>
          <p:cNvPr id="12" name="Freihandform 11">
            <a:extLst>
              <a:ext uri="{FF2B5EF4-FFF2-40B4-BE49-F238E27FC236}">
                <a16:creationId xmlns:a16="http://schemas.microsoft.com/office/drawing/2014/main" id="{DDA6A3F7-C853-DD0E-E28E-7418A60558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810930" y="938224"/>
            <a:ext cx="5381070" cy="5919777"/>
          </a:xfrm>
          <a:custGeom>
            <a:avLst/>
            <a:gdLst>
              <a:gd name="connsiteX0" fmla="*/ 4766985 w 5381070"/>
              <a:gd name="connsiteY0" fmla="*/ 0 h 5919777"/>
              <a:gd name="connsiteX1" fmla="*/ 5254382 w 5381070"/>
              <a:gd name="connsiteY1" fmla="*/ 24125 h 5919777"/>
              <a:gd name="connsiteX2" fmla="*/ 5381070 w 5381070"/>
              <a:gd name="connsiteY2" fmla="*/ 39906 h 5919777"/>
              <a:gd name="connsiteX3" fmla="*/ 5381070 w 5381070"/>
              <a:gd name="connsiteY3" fmla="*/ 5919777 h 5919777"/>
              <a:gd name="connsiteX4" fmla="*/ 176913 w 5381070"/>
              <a:gd name="connsiteY4" fmla="*/ 5919777 h 5919777"/>
              <a:gd name="connsiteX5" fmla="*/ 96848 w 5381070"/>
              <a:gd name="connsiteY5" fmla="*/ 5614545 h 5919777"/>
              <a:gd name="connsiteX6" fmla="*/ 0 w 5381070"/>
              <a:gd name="connsiteY6" fmla="*/ 4672810 h 5919777"/>
              <a:gd name="connsiteX7" fmla="*/ 4766985 w 5381070"/>
              <a:gd name="connsiteY7" fmla="*/ 0 h 5919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81070" h="5919777">
                <a:moveTo>
                  <a:pt x="4766985" y="0"/>
                </a:moveTo>
                <a:cubicBezTo>
                  <a:pt x="4931531" y="0"/>
                  <a:pt x="5094130" y="8172"/>
                  <a:pt x="5254382" y="24125"/>
                </a:cubicBezTo>
                <a:lnTo>
                  <a:pt x="5381070" y="39906"/>
                </a:lnTo>
                <a:lnTo>
                  <a:pt x="5381070" y="5919777"/>
                </a:lnTo>
                <a:lnTo>
                  <a:pt x="176913" y="5919777"/>
                </a:lnTo>
                <a:lnTo>
                  <a:pt x="96848" y="5614545"/>
                </a:lnTo>
                <a:cubicBezTo>
                  <a:pt x="33347" y="5310356"/>
                  <a:pt x="0" y="4995400"/>
                  <a:pt x="0" y="4672810"/>
                </a:cubicBezTo>
                <a:cubicBezTo>
                  <a:pt x="0" y="2092088"/>
                  <a:pt x="2134251" y="0"/>
                  <a:pt x="4766985" y="0"/>
                </a:cubicBezTo>
                <a:close/>
              </a:path>
            </a:pathLst>
          </a:custGeom>
          <a:solidFill>
            <a:srgbClr val="7CC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noFill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E8407B6-C367-9613-33D5-35E66E8CB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15305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213016D-50D3-07BE-65B3-2DF2FB71B83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6763" y="1989138"/>
            <a:ext cx="5329237" cy="4140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B4988A1-B304-97DD-554F-E97E7884DE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96100" y="1673805"/>
            <a:ext cx="5195900" cy="5184195"/>
          </a:xfrm>
          <a:custGeom>
            <a:avLst/>
            <a:gdLst>
              <a:gd name="connsiteX0" fmla="*/ 4099421 w 5195900"/>
              <a:gd name="connsiteY0" fmla="*/ 0 h 5184195"/>
              <a:gd name="connsiteX1" fmla="*/ 5123930 w 5195900"/>
              <a:gd name="connsiteY1" fmla="*/ 129061 h 5184195"/>
              <a:gd name="connsiteX2" fmla="*/ 5195900 w 5195900"/>
              <a:gd name="connsiteY2" fmla="*/ 149498 h 5184195"/>
              <a:gd name="connsiteX3" fmla="*/ 5195900 w 5195900"/>
              <a:gd name="connsiteY3" fmla="*/ 5184195 h 5184195"/>
              <a:gd name="connsiteX4" fmla="*/ 149778 w 5195900"/>
              <a:gd name="connsiteY4" fmla="*/ 5184195 h 5184195"/>
              <a:gd name="connsiteX5" fmla="*/ 83286 w 5195900"/>
              <a:gd name="connsiteY5" fmla="*/ 4925598 h 5184195"/>
              <a:gd name="connsiteX6" fmla="*/ 0 w 5195900"/>
              <a:gd name="connsiteY6" fmla="*/ 4099421 h 5184195"/>
              <a:gd name="connsiteX7" fmla="*/ 4099421 w 5195900"/>
              <a:gd name="connsiteY7" fmla="*/ 0 h 5184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5900" h="5184195">
                <a:moveTo>
                  <a:pt x="4099421" y="0"/>
                </a:moveTo>
                <a:cubicBezTo>
                  <a:pt x="4453179" y="0"/>
                  <a:pt x="4796470" y="44809"/>
                  <a:pt x="5123930" y="129061"/>
                </a:cubicBezTo>
                <a:lnTo>
                  <a:pt x="5195900" y="149498"/>
                </a:lnTo>
                <a:lnTo>
                  <a:pt x="5195900" y="5184195"/>
                </a:lnTo>
                <a:lnTo>
                  <a:pt x="149778" y="5184195"/>
                </a:lnTo>
                <a:lnTo>
                  <a:pt x="83286" y="4925598"/>
                </a:lnTo>
                <a:cubicBezTo>
                  <a:pt x="28678" y="4658735"/>
                  <a:pt x="0" y="4382427"/>
                  <a:pt x="0" y="4099421"/>
                </a:cubicBezTo>
                <a:cubicBezTo>
                  <a:pt x="0" y="1835373"/>
                  <a:pt x="1835373" y="0"/>
                  <a:pt x="4099421" y="0"/>
                </a:cubicBezTo>
                <a:close/>
              </a:path>
            </a:pathLst>
          </a:custGeom>
          <a:solidFill>
            <a:srgbClr val="DDDBDA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DCE2EAD-60B8-B83D-795E-6F30BE275D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9991301-0423-DD7A-B2B9-A37ED71792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7384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00000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mit Bi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ihandform 24">
            <a:extLst>
              <a:ext uri="{FF2B5EF4-FFF2-40B4-BE49-F238E27FC236}">
                <a16:creationId xmlns:a16="http://schemas.microsoft.com/office/drawing/2014/main" id="{78D04F61-70F4-2310-818C-93CDF8FBA2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39180" y="0"/>
            <a:ext cx="4652821" cy="5669584"/>
          </a:xfrm>
          <a:custGeom>
            <a:avLst/>
            <a:gdLst>
              <a:gd name="connsiteX0" fmla="*/ 415773 w 4652821"/>
              <a:gd name="connsiteY0" fmla="*/ 0 h 5669584"/>
              <a:gd name="connsiteX1" fmla="*/ 4652821 w 4652821"/>
              <a:gd name="connsiteY1" fmla="*/ 0 h 5669584"/>
              <a:gd name="connsiteX2" fmla="*/ 4652821 w 4652821"/>
              <a:gd name="connsiteY2" fmla="*/ 5600179 h 5669584"/>
              <a:gd name="connsiteX3" fmla="*/ 4517101 w 4652821"/>
              <a:gd name="connsiteY3" fmla="*/ 5624416 h 5669584"/>
              <a:gd name="connsiteX4" fmla="*/ 3920107 w 4652821"/>
              <a:gd name="connsiteY4" fmla="*/ 5669584 h 5669584"/>
              <a:gd name="connsiteX5" fmla="*/ 0 w 4652821"/>
              <a:gd name="connsiteY5" fmla="*/ 1749477 h 5669584"/>
              <a:gd name="connsiteX6" fmla="*/ 308062 w 4652821"/>
              <a:gd name="connsiteY6" fmla="*/ 223595 h 5669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2821" h="5669584">
                <a:moveTo>
                  <a:pt x="415773" y="0"/>
                </a:moveTo>
                <a:lnTo>
                  <a:pt x="4652821" y="0"/>
                </a:lnTo>
                <a:lnTo>
                  <a:pt x="4652821" y="5600179"/>
                </a:lnTo>
                <a:lnTo>
                  <a:pt x="4517101" y="5624416"/>
                </a:lnTo>
                <a:cubicBezTo>
                  <a:pt x="4322444" y="5654159"/>
                  <a:pt x="4123077" y="5669584"/>
                  <a:pt x="3920107" y="5669584"/>
                </a:cubicBezTo>
                <a:cubicBezTo>
                  <a:pt x="1755092" y="5669584"/>
                  <a:pt x="0" y="3914492"/>
                  <a:pt x="0" y="1749477"/>
                </a:cubicBezTo>
                <a:cubicBezTo>
                  <a:pt x="0" y="1208223"/>
                  <a:pt x="109694" y="692590"/>
                  <a:pt x="308062" y="223595"/>
                </a:cubicBezTo>
                <a:close/>
              </a:path>
            </a:pathLst>
          </a:custGeom>
          <a:solidFill>
            <a:srgbClr val="7CC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3" name="Freihandform 22">
            <a:extLst>
              <a:ext uri="{FF2B5EF4-FFF2-40B4-BE49-F238E27FC236}">
                <a16:creationId xmlns:a16="http://schemas.microsoft.com/office/drawing/2014/main" id="{640E98F1-D024-31E1-CC26-28902CE7C8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888500" y="0"/>
            <a:ext cx="4303500" cy="4899816"/>
          </a:xfrm>
          <a:custGeom>
            <a:avLst/>
            <a:gdLst>
              <a:gd name="connsiteX0" fmla="*/ 307689 w 4303500"/>
              <a:gd name="connsiteY0" fmla="*/ 0 h 4899816"/>
              <a:gd name="connsiteX1" fmla="*/ 4303500 w 4303500"/>
              <a:gd name="connsiteY1" fmla="*/ 0 h 4899816"/>
              <a:gd name="connsiteX2" fmla="*/ 4303500 w 4303500"/>
              <a:gd name="connsiteY2" fmla="*/ 4799709 h 4899816"/>
              <a:gd name="connsiteX3" fmla="*/ 4175677 w 4303500"/>
              <a:gd name="connsiteY3" fmla="*/ 4829211 h 4899816"/>
              <a:gd name="connsiteX4" fmla="*/ 3475286 w 4303500"/>
              <a:gd name="connsiteY4" fmla="*/ 4899816 h 4899816"/>
              <a:gd name="connsiteX5" fmla="*/ 0 w 4303500"/>
              <a:gd name="connsiteY5" fmla="*/ 1424530 h 4899816"/>
              <a:gd name="connsiteX6" fmla="*/ 273105 w 4303500"/>
              <a:gd name="connsiteY6" fmla="*/ 71792 h 489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03500" h="4899816">
                <a:moveTo>
                  <a:pt x="307689" y="0"/>
                </a:moveTo>
                <a:lnTo>
                  <a:pt x="4303500" y="0"/>
                </a:lnTo>
                <a:lnTo>
                  <a:pt x="4303500" y="4799709"/>
                </a:lnTo>
                <a:lnTo>
                  <a:pt x="4175677" y="4829211"/>
                </a:lnTo>
                <a:cubicBezTo>
                  <a:pt x="3949445" y="4875505"/>
                  <a:pt x="3715204" y="4899816"/>
                  <a:pt x="3475286" y="4899816"/>
                </a:cubicBezTo>
                <a:cubicBezTo>
                  <a:pt x="1555939" y="4899816"/>
                  <a:pt x="0" y="3343877"/>
                  <a:pt x="0" y="1424530"/>
                </a:cubicBezTo>
                <a:cubicBezTo>
                  <a:pt x="0" y="944693"/>
                  <a:pt x="97246" y="487570"/>
                  <a:pt x="273105" y="71792"/>
                </a:cubicBez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49F16A55-F602-6C3B-7A0F-E4AB709A39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4"/>
            <a:ext cx="5324072" cy="918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DCF30C9-A17B-1875-D767-97A314BA25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A03FB64-1E1F-BC70-8060-9F4A298B46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A9185B46-3660-9930-56A3-59118139EE2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6763" y="1989138"/>
            <a:ext cx="5329237" cy="4140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652755D4-EC88-64EF-ED75-719AF9757A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20458" y="0"/>
            <a:ext cx="3971543" cy="4774818"/>
          </a:xfrm>
          <a:custGeom>
            <a:avLst/>
            <a:gdLst>
              <a:gd name="connsiteX0" fmla="*/ 480927 w 3971543"/>
              <a:gd name="connsiteY0" fmla="*/ 0 h 4774818"/>
              <a:gd name="connsiteX1" fmla="*/ 3971543 w 3971543"/>
              <a:gd name="connsiteY1" fmla="*/ 0 h 4774818"/>
              <a:gd name="connsiteX2" fmla="*/ 3971543 w 3971543"/>
              <a:gd name="connsiteY2" fmla="*/ 4653220 h 4774818"/>
              <a:gd name="connsiteX3" fmla="*/ 3744896 w 3971543"/>
              <a:gd name="connsiteY3" fmla="*/ 4711497 h 4774818"/>
              <a:gd name="connsiteX4" fmla="*/ 3116760 w 3971543"/>
              <a:gd name="connsiteY4" fmla="*/ 4774818 h 4774818"/>
              <a:gd name="connsiteX5" fmla="*/ 0 w 3971543"/>
              <a:gd name="connsiteY5" fmla="*/ 1658058 h 4774818"/>
              <a:gd name="connsiteX6" fmla="*/ 376176 w 3971543"/>
              <a:gd name="connsiteY6" fmla="*/ 172425 h 477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71543" h="4774818">
                <a:moveTo>
                  <a:pt x="480927" y="0"/>
                </a:moveTo>
                <a:lnTo>
                  <a:pt x="3971543" y="0"/>
                </a:lnTo>
                <a:lnTo>
                  <a:pt x="3971543" y="4653220"/>
                </a:lnTo>
                <a:lnTo>
                  <a:pt x="3744896" y="4711497"/>
                </a:lnTo>
                <a:cubicBezTo>
                  <a:pt x="3542002" y="4753015"/>
                  <a:pt x="3331927" y="4774818"/>
                  <a:pt x="3116760" y="4774818"/>
                </a:cubicBezTo>
                <a:cubicBezTo>
                  <a:pt x="1395421" y="4774818"/>
                  <a:pt x="0" y="3379397"/>
                  <a:pt x="0" y="1658058"/>
                </a:cubicBezTo>
                <a:cubicBezTo>
                  <a:pt x="0" y="1120140"/>
                  <a:pt x="136272" y="614049"/>
                  <a:pt x="376176" y="172425"/>
                </a:cubicBezTo>
                <a:close/>
              </a:path>
            </a:pathLst>
          </a:custGeom>
          <a:solidFill>
            <a:srgbClr val="DDDBDA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3742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00000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mit Bil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 14">
            <a:extLst>
              <a:ext uri="{FF2B5EF4-FFF2-40B4-BE49-F238E27FC236}">
                <a16:creationId xmlns:a16="http://schemas.microsoft.com/office/drawing/2014/main" id="{AF3EB3BD-DC72-6399-7356-AA34FC9D0E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5858031" cy="6858000"/>
          </a:xfrm>
          <a:custGeom>
            <a:avLst/>
            <a:gdLst>
              <a:gd name="connsiteX0" fmla="*/ 0 w 5858031"/>
              <a:gd name="connsiteY0" fmla="*/ 0 h 6858000"/>
              <a:gd name="connsiteX1" fmla="*/ 5497742 w 5858031"/>
              <a:gd name="connsiteY1" fmla="*/ 0 h 6858000"/>
              <a:gd name="connsiteX2" fmla="*/ 5532389 w 5858031"/>
              <a:gd name="connsiteY2" fmla="*/ 102395 h 6858000"/>
              <a:gd name="connsiteX3" fmla="*/ 5858031 w 5858031"/>
              <a:gd name="connsiteY3" fmla="*/ 2256317 h 6858000"/>
              <a:gd name="connsiteX4" fmla="*/ 4419054 w 5858031"/>
              <a:gd name="connsiteY4" fmla="*/ 6590071 h 6858000"/>
              <a:gd name="connsiteX5" fmla="*/ 4208502 w 5858031"/>
              <a:gd name="connsiteY5" fmla="*/ 6858000 h 6858000"/>
              <a:gd name="connsiteX6" fmla="*/ 0 w 585803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58031" h="6858000">
                <a:moveTo>
                  <a:pt x="0" y="0"/>
                </a:moveTo>
                <a:lnTo>
                  <a:pt x="5497742" y="0"/>
                </a:lnTo>
                <a:lnTo>
                  <a:pt x="5532389" y="102395"/>
                </a:lnTo>
                <a:cubicBezTo>
                  <a:pt x="5744022" y="782819"/>
                  <a:pt x="5858031" y="1506254"/>
                  <a:pt x="5858031" y="2256317"/>
                </a:cubicBezTo>
                <a:cubicBezTo>
                  <a:pt x="5858031" y="3881454"/>
                  <a:pt x="5322824" y="5381587"/>
                  <a:pt x="4419054" y="6590071"/>
                </a:cubicBezTo>
                <a:lnTo>
                  <a:pt x="420850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7" name="Freihandform 16">
            <a:extLst>
              <a:ext uri="{FF2B5EF4-FFF2-40B4-BE49-F238E27FC236}">
                <a16:creationId xmlns:a16="http://schemas.microsoft.com/office/drawing/2014/main" id="{E11A63E0-0BC1-4636-6F34-9EF488E6D5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5537991" cy="6858000"/>
          </a:xfrm>
          <a:custGeom>
            <a:avLst/>
            <a:gdLst>
              <a:gd name="connsiteX0" fmla="*/ 0 w 5537991"/>
              <a:gd name="connsiteY0" fmla="*/ 0 h 6858000"/>
              <a:gd name="connsiteX1" fmla="*/ 5136449 w 5537991"/>
              <a:gd name="connsiteY1" fmla="*/ 0 h 6858000"/>
              <a:gd name="connsiteX2" fmla="*/ 5212349 w 5537991"/>
              <a:gd name="connsiteY2" fmla="*/ 224315 h 6858000"/>
              <a:gd name="connsiteX3" fmla="*/ 5537991 w 5537991"/>
              <a:gd name="connsiteY3" fmla="*/ 2378237 h 6858000"/>
              <a:gd name="connsiteX4" fmla="*/ 4099014 w 5537991"/>
              <a:gd name="connsiteY4" fmla="*/ 6711991 h 6858000"/>
              <a:gd name="connsiteX5" fmla="*/ 3984273 w 5537991"/>
              <a:gd name="connsiteY5" fmla="*/ 6858000 h 6858000"/>
              <a:gd name="connsiteX6" fmla="*/ 0 w 553799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37991" h="6858000">
                <a:moveTo>
                  <a:pt x="0" y="0"/>
                </a:moveTo>
                <a:lnTo>
                  <a:pt x="5136449" y="0"/>
                </a:lnTo>
                <a:lnTo>
                  <a:pt x="5212349" y="224315"/>
                </a:lnTo>
                <a:cubicBezTo>
                  <a:pt x="5423983" y="904739"/>
                  <a:pt x="5537991" y="1628174"/>
                  <a:pt x="5537991" y="2378237"/>
                </a:cubicBezTo>
                <a:cubicBezTo>
                  <a:pt x="5537991" y="4003374"/>
                  <a:pt x="5002784" y="5503507"/>
                  <a:pt x="4099014" y="6711991"/>
                </a:cubicBezTo>
                <a:lnTo>
                  <a:pt x="398427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7CC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E8407B6-C367-9613-33D5-35E66E8CB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8393" y="549275"/>
            <a:ext cx="5326845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D3FF066-3DC1-4B96-013B-2082872C32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9A62573-6D7C-7499-2B7E-510A6FA672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0" y="1989138"/>
            <a:ext cx="5326063" cy="4140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49542A81-FB2C-680E-1F7B-956BE0815EF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" y="0"/>
            <a:ext cx="5183057" cy="6858000"/>
          </a:xfrm>
          <a:custGeom>
            <a:avLst/>
            <a:gdLst>
              <a:gd name="connsiteX0" fmla="*/ 0 w 5183057"/>
              <a:gd name="connsiteY0" fmla="*/ 0 h 6858000"/>
              <a:gd name="connsiteX1" fmla="*/ 4674966 w 5183057"/>
              <a:gd name="connsiteY1" fmla="*/ 0 h 6858000"/>
              <a:gd name="connsiteX2" fmla="*/ 4743433 w 5183057"/>
              <a:gd name="connsiteY2" fmla="*/ 173646 h 6858000"/>
              <a:gd name="connsiteX3" fmla="*/ 5183057 w 5183057"/>
              <a:gd name="connsiteY3" fmla="*/ 2664720 h 6858000"/>
              <a:gd name="connsiteX4" fmla="*/ 3945725 w 5183057"/>
              <a:gd name="connsiteY4" fmla="*/ 6715469 h 6858000"/>
              <a:gd name="connsiteX5" fmla="*/ 3844369 w 5183057"/>
              <a:gd name="connsiteY5" fmla="*/ 6858000 h 6858000"/>
              <a:gd name="connsiteX6" fmla="*/ 0 w 518305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83057" h="6858000">
                <a:moveTo>
                  <a:pt x="0" y="0"/>
                </a:moveTo>
                <a:lnTo>
                  <a:pt x="4674966" y="0"/>
                </a:lnTo>
                <a:lnTo>
                  <a:pt x="4743433" y="173646"/>
                </a:lnTo>
                <a:cubicBezTo>
                  <a:pt x="5027841" y="950403"/>
                  <a:pt x="5183057" y="1789435"/>
                  <a:pt x="5183057" y="2664720"/>
                </a:cubicBezTo>
                <a:cubicBezTo>
                  <a:pt x="5183057" y="4165209"/>
                  <a:pt x="4726912" y="5559159"/>
                  <a:pt x="3945725" y="6715469"/>
                </a:cubicBezTo>
                <a:lnTo>
                  <a:pt x="38443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DDBDA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5189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mit Bild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05040C0B-E305-9C04-8363-0A7B1264DE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"/>
            <a:ext cx="8612188" cy="6857999"/>
          </a:xfrm>
          <a:custGeom>
            <a:avLst/>
            <a:gdLst>
              <a:gd name="connsiteX0" fmla="*/ 0 w 8612188"/>
              <a:gd name="connsiteY0" fmla="*/ 0 h 6857999"/>
              <a:gd name="connsiteX1" fmla="*/ 7918452 w 8612188"/>
              <a:gd name="connsiteY1" fmla="*/ 0 h 6857999"/>
              <a:gd name="connsiteX2" fmla="*/ 7990645 w 8612188"/>
              <a:gd name="connsiteY2" fmla="*/ 140956 h 6857999"/>
              <a:gd name="connsiteX3" fmla="*/ 8612188 w 8612188"/>
              <a:gd name="connsiteY3" fmla="*/ 2873563 h 6857999"/>
              <a:gd name="connsiteX4" fmla="*/ 7360007 w 8612188"/>
              <a:gd name="connsiteY4" fmla="*/ 6644744 h 6857999"/>
              <a:gd name="connsiteX5" fmla="*/ 7192421 w 8612188"/>
              <a:gd name="connsiteY5" fmla="*/ 6857999 h 6857999"/>
              <a:gd name="connsiteX6" fmla="*/ 0 w 8612188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12188" h="6857999">
                <a:moveTo>
                  <a:pt x="0" y="0"/>
                </a:moveTo>
                <a:lnTo>
                  <a:pt x="7918452" y="0"/>
                </a:lnTo>
                <a:lnTo>
                  <a:pt x="7990645" y="140956"/>
                </a:lnTo>
                <a:cubicBezTo>
                  <a:pt x="8388968" y="967611"/>
                  <a:pt x="8612188" y="1894519"/>
                  <a:pt x="8612188" y="2873563"/>
                </a:cubicBezTo>
                <a:cubicBezTo>
                  <a:pt x="8612188" y="4287738"/>
                  <a:pt x="8146457" y="5593136"/>
                  <a:pt x="7360007" y="6644744"/>
                </a:cubicBezTo>
                <a:lnTo>
                  <a:pt x="7192421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52BB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err="1">
              <a:noFill/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6A0EFFC3-8F06-ECE1-2F73-E4845EC70B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"/>
            <a:ext cx="8156865" cy="6857999"/>
          </a:xfrm>
          <a:custGeom>
            <a:avLst/>
            <a:gdLst>
              <a:gd name="connsiteX0" fmla="*/ 0 w 8156865"/>
              <a:gd name="connsiteY0" fmla="*/ 0 h 6857999"/>
              <a:gd name="connsiteX1" fmla="*/ 7482786 w 8156865"/>
              <a:gd name="connsiteY1" fmla="*/ 0 h 6857999"/>
              <a:gd name="connsiteX2" fmla="*/ 7540308 w 8156865"/>
              <a:gd name="connsiteY2" fmla="*/ 112311 h 6857999"/>
              <a:gd name="connsiteX3" fmla="*/ 8156865 w 8156865"/>
              <a:gd name="connsiteY3" fmla="*/ 2822996 h 6857999"/>
              <a:gd name="connsiteX4" fmla="*/ 6729115 w 8156865"/>
              <a:gd name="connsiteY4" fmla="*/ 6800119 h 6857999"/>
              <a:gd name="connsiteX5" fmla="*/ 6678978 w 8156865"/>
              <a:gd name="connsiteY5" fmla="*/ 6857999 h 6857999"/>
              <a:gd name="connsiteX6" fmla="*/ 0 w 8156865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56865" h="6857999">
                <a:moveTo>
                  <a:pt x="0" y="0"/>
                </a:moveTo>
                <a:lnTo>
                  <a:pt x="7482786" y="0"/>
                </a:lnTo>
                <a:lnTo>
                  <a:pt x="7540308" y="112311"/>
                </a:lnTo>
                <a:cubicBezTo>
                  <a:pt x="7935436" y="932334"/>
                  <a:pt x="8156865" y="1851806"/>
                  <a:pt x="8156865" y="2822996"/>
                </a:cubicBezTo>
                <a:cubicBezTo>
                  <a:pt x="8156865" y="4333736"/>
                  <a:pt x="7621061" y="5719332"/>
                  <a:pt x="6729115" y="6800119"/>
                </a:cubicBezTo>
                <a:lnTo>
                  <a:pt x="667897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err="1">
              <a:noFill/>
            </a:endParaRP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3048C7A4-043A-CA43-807E-4C2E8CD157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10392"/>
            <a:ext cx="7439095" cy="6868392"/>
          </a:xfrm>
          <a:custGeom>
            <a:avLst/>
            <a:gdLst>
              <a:gd name="connsiteX0" fmla="*/ 0 w 7439095"/>
              <a:gd name="connsiteY0" fmla="*/ 0 h 6857999"/>
              <a:gd name="connsiteX1" fmla="*/ 6621547 w 7439095"/>
              <a:gd name="connsiteY1" fmla="*/ 0 h 6857999"/>
              <a:gd name="connsiteX2" fmla="*/ 6684461 w 7439095"/>
              <a:gd name="connsiteY2" fmla="*/ 109419 h 6857999"/>
              <a:gd name="connsiteX3" fmla="*/ 7439095 w 7439095"/>
              <a:gd name="connsiteY3" fmla="*/ 3089696 h 6857999"/>
              <a:gd name="connsiteX4" fmla="*/ 6196960 w 7439095"/>
              <a:gd name="connsiteY4" fmla="*/ 6830622 h 6857999"/>
              <a:gd name="connsiteX5" fmla="*/ 6175446 w 7439095"/>
              <a:gd name="connsiteY5" fmla="*/ 6857999 h 6857999"/>
              <a:gd name="connsiteX6" fmla="*/ 0 w 7439095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439095" h="6857999">
                <a:moveTo>
                  <a:pt x="0" y="0"/>
                </a:moveTo>
                <a:lnTo>
                  <a:pt x="6621547" y="0"/>
                </a:lnTo>
                <a:lnTo>
                  <a:pt x="6684461" y="109419"/>
                </a:lnTo>
                <a:cubicBezTo>
                  <a:pt x="7165725" y="995346"/>
                  <a:pt x="7439095" y="2010596"/>
                  <a:pt x="7439095" y="3089696"/>
                </a:cubicBezTo>
                <a:cubicBezTo>
                  <a:pt x="7439095" y="4492526"/>
                  <a:pt x="6977100" y="5787451"/>
                  <a:pt x="6196960" y="6830622"/>
                </a:cubicBezTo>
                <a:lnTo>
                  <a:pt x="6175446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err="1">
              <a:noFill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E9EA52F-A3D5-B05A-9E45-D040B98A71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254C940-E3B9-7C36-27EF-C2A69C270D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8" y="549275"/>
            <a:ext cx="5143097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464A2-3ACB-D83E-7275-5F97C5CF251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6763" y="1989138"/>
            <a:ext cx="2376487" cy="4140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920E2101-6F68-C65C-A450-E211CE5C0F8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40126" y="1989138"/>
            <a:ext cx="2376487" cy="4140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24B31839-34CA-349D-3E4A-1DC274FB84B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92420" y="0"/>
            <a:ext cx="4999580" cy="6858000"/>
          </a:xfrm>
          <a:custGeom>
            <a:avLst/>
            <a:gdLst>
              <a:gd name="connsiteX0" fmla="*/ 726032 w 4999580"/>
              <a:gd name="connsiteY0" fmla="*/ 0 h 6858000"/>
              <a:gd name="connsiteX1" fmla="*/ 4999580 w 4999580"/>
              <a:gd name="connsiteY1" fmla="*/ 0 h 6858000"/>
              <a:gd name="connsiteX2" fmla="*/ 4999580 w 4999580"/>
              <a:gd name="connsiteY2" fmla="*/ 6858000 h 6858000"/>
              <a:gd name="connsiteX3" fmla="*/ 0 w 4999580"/>
              <a:gd name="connsiteY3" fmla="*/ 6858000 h 6858000"/>
              <a:gd name="connsiteX4" fmla="*/ 167587 w 4999580"/>
              <a:gd name="connsiteY4" fmla="*/ 6644744 h 6858000"/>
              <a:gd name="connsiteX5" fmla="*/ 1419768 w 4999580"/>
              <a:gd name="connsiteY5" fmla="*/ 2873563 h 6858000"/>
              <a:gd name="connsiteX6" fmla="*/ 798225 w 4999580"/>
              <a:gd name="connsiteY6" fmla="*/ 14095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99580" h="6858000">
                <a:moveTo>
                  <a:pt x="726032" y="0"/>
                </a:moveTo>
                <a:lnTo>
                  <a:pt x="4999580" y="0"/>
                </a:lnTo>
                <a:lnTo>
                  <a:pt x="4999580" y="6858000"/>
                </a:lnTo>
                <a:lnTo>
                  <a:pt x="0" y="6858000"/>
                </a:lnTo>
                <a:lnTo>
                  <a:pt x="167587" y="6644744"/>
                </a:lnTo>
                <a:cubicBezTo>
                  <a:pt x="954037" y="5593136"/>
                  <a:pt x="1419768" y="4287738"/>
                  <a:pt x="1419768" y="2873563"/>
                </a:cubicBezTo>
                <a:cubicBezTo>
                  <a:pt x="1419768" y="1894519"/>
                  <a:pt x="1196548" y="967611"/>
                  <a:pt x="798225" y="140956"/>
                </a:cubicBezTo>
                <a:close/>
              </a:path>
            </a:pathLst>
          </a:custGeom>
          <a:solidFill>
            <a:srgbClr val="DDDBDA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D300310-57D8-2453-D42C-CDA08ECD25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3440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230" userDrawn="1">
          <p15:clr>
            <a:srgbClr val="000000"/>
          </p15:clr>
        </p15:guide>
        <p15:guide id="3" pos="1980" userDrawn="1">
          <p15:clr>
            <a:srgbClr val="000000"/>
          </p15:clr>
        </p15:guide>
        <p15:guide id="5" pos="3727" userDrawn="1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mit Bild 5 neg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05040C0B-E305-9C04-8363-0A7B1264DE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"/>
            <a:ext cx="8612188" cy="6857999"/>
          </a:xfrm>
          <a:custGeom>
            <a:avLst/>
            <a:gdLst>
              <a:gd name="connsiteX0" fmla="*/ 0 w 8612188"/>
              <a:gd name="connsiteY0" fmla="*/ 0 h 6857999"/>
              <a:gd name="connsiteX1" fmla="*/ 7918452 w 8612188"/>
              <a:gd name="connsiteY1" fmla="*/ 0 h 6857999"/>
              <a:gd name="connsiteX2" fmla="*/ 7990645 w 8612188"/>
              <a:gd name="connsiteY2" fmla="*/ 140956 h 6857999"/>
              <a:gd name="connsiteX3" fmla="*/ 8612188 w 8612188"/>
              <a:gd name="connsiteY3" fmla="*/ 2873563 h 6857999"/>
              <a:gd name="connsiteX4" fmla="*/ 7360007 w 8612188"/>
              <a:gd name="connsiteY4" fmla="*/ 6644744 h 6857999"/>
              <a:gd name="connsiteX5" fmla="*/ 7192421 w 8612188"/>
              <a:gd name="connsiteY5" fmla="*/ 6857999 h 6857999"/>
              <a:gd name="connsiteX6" fmla="*/ 0 w 8612188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12188" h="6857999">
                <a:moveTo>
                  <a:pt x="0" y="0"/>
                </a:moveTo>
                <a:lnTo>
                  <a:pt x="7918452" y="0"/>
                </a:lnTo>
                <a:lnTo>
                  <a:pt x="7990645" y="140956"/>
                </a:lnTo>
                <a:cubicBezTo>
                  <a:pt x="8388968" y="967611"/>
                  <a:pt x="8612188" y="1894519"/>
                  <a:pt x="8612188" y="2873563"/>
                </a:cubicBezTo>
                <a:cubicBezTo>
                  <a:pt x="8612188" y="4287738"/>
                  <a:pt x="8146457" y="5593136"/>
                  <a:pt x="7360007" y="6644744"/>
                </a:cubicBezTo>
                <a:lnTo>
                  <a:pt x="7192421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7CC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err="1">
              <a:noFill/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6A0EFFC3-8F06-ECE1-2F73-E4845EC70B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"/>
            <a:ext cx="8156865" cy="6857999"/>
          </a:xfrm>
          <a:custGeom>
            <a:avLst/>
            <a:gdLst>
              <a:gd name="connsiteX0" fmla="*/ 0 w 8156865"/>
              <a:gd name="connsiteY0" fmla="*/ 0 h 6857999"/>
              <a:gd name="connsiteX1" fmla="*/ 7482786 w 8156865"/>
              <a:gd name="connsiteY1" fmla="*/ 0 h 6857999"/>
              <a:gd name="connsiteX2" fmla="*/ 7540308 w 8156865"/>
              <a:gd name="connsiteY2" fmla="*/ 112311 h 6857999"/>
              <a:gd name="connsiteX3" fmla="*/ 8156865 w 8156865"/>
              <a:gd name="connsiteY3" fmla="*/ 2822996 h 6857999"/>
              <a:gd name="connsiteX4" fmla="*/ 6729115 w 8156865"/>
              <a:gd name="connsiteY4" fmla="*/ 6800119 h 6857999"/>
              <a:gd name="connsiteX5" fmla="*/ 6678978 w 8156865"/>
              <a:gd name="connsiteY5" fmla="*/ 6857999 h 6857999"/>
              <a:gd name="connsiteX6" fmla="*/ 0 w 8156865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56865" h="6857999">
                <a:moveTo>
                  <a:pt x="0" y="0"/>
                </a:moveTo>
                <a:lnTo>
                  <a:pt x="7482786" y="0"/>
                </a:lnTo>
                <a:lnTo>
                  <a:pt x="7540308" y="112311"/>
                </a:lnTo>
                <a:cubicBezTo>
                  <a:pt x="7935436" y="932334"/>
                  <a:pt x="8156865" y="1851806"/>
                  <a:pt x="8156865" y="2822996"/>
                </a:cubicBezTo>
                <a:cubicBezTo>
                  <a:pt x="8156865" y="4333736"/>
                  <a:pt x="7621061" y="5719332"/>
                  <a:pt x="6729115" y="6800119"/>
                </a:cubicBezTo>
                <a:lnTo>
                  <a:pt x="667897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err="1">
              <a:noFill/>
            </a:endParaRPr>
          </a:p>
        </p:txBody>
      </p: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24B31839-34CA-349D-3E4A-1DC274FB84B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92420" y="0"/>
            <a:ext cx="4999580" cy="6858000"/>
          </a:xfrm>
          <a:custGeom>
            <a:avLst/>
            <a:gdLst>
              <a:gd name="connsiteX0" fmla="*/ 726032 w 4999580"/>
              <a:gd name="connsiteY0" fmla="*/ 0 h 6858000"/>
              <a:gd name="connsiteX1" fmla="*/ 4999580 w 4999580"/>
              <a:gd name="connsiteY1" fmla="*/ 0 h 6858000"/>
              <a:gd name="connsiteX2" fmla="*/ 4999580 w 4999580"/>
              <a:gd name="connsiteY2" fmla="*/ 6858000 h 6858000"/>
              <a:gd name="connsiteX3" fmla="*/ 0 w 4999580"/>
              <a:gd name="connsiteY3" fmla="*/ 6858000 h 6858000"/>
              <a:gd name="connsiteX4" fmla="*/ 167587 w 4999580"/>
              <a:gd name="connsiteY4" fmla="*/ 6644744 h 6858000"/>
              <a:gd name="connsiteX5" fmla="*/ 1419768 w 4999580"/>
              <a:gd name="connsiteY5" fmla="*/ 2873563 h 6858000"/>
              <a:gd name="connsiteX6" fmla="*/ 798225 w 4999580"/>
              <a:gd name="connsiteY6" fmla="*/ 14095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99580" h="6858000">
                <a:moveTo>
                  <a:pt x="726032" y="0"/>
                </a:moveTo>
                <a:lnTo>
                  <a:pt x="4999580" y="0"/>
                </a:lnTo>
                <a:lnTo>
                  <a:pt x="4999580" y="6858000"/>
                </a:lnTo>
                <a:lnTo>
                  <a:pt x="0" y="6858000"/>
                </a:lnTo>
                <a:lnTo>
                  <a:pt x="167587" y="6644744"/>
                </a:lnTo>
                <a:cubicBezTo>
                  <a:pt x="954037" y="5593136"/>
                  <a:pt x="1419768" y="4287738"/>
                  <a:pt x="1419768" y="2873563"/>
                </a:cubicBezTo>
                <a:cubicBezTo>
                  <a:pt x="1419768" y="1894519"/>
                  <a:pt x="1196548" y="967611"/>
                  <a:pt x="798225" y="140956"/>
                </a:cubicBezTo>
                <a:close/>
              </a:path>
            </a:pathLst>
          </a:custGeom>
          <a:solidFill>
            <a:srgbClr val="DDDBDA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3048C7A4-043A-CA43-807E-4C2E8CD157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10392"/>
            <a:ext cx="7439095" cy="6868392"/>
          </a:xfrm>
          <a:custGeom>
            <a:avLst/>
            <a:gdLst>
              <a:gd name="connsiteX0" fmla="*/ 0 w 7439095"/>
              <a:gd name="connsiteY0" fmla="*/ 0 h 6857999"/>
              <a:gd name="connsiteX1" fmla="*/ 6621547 w 7439095"/>
              <a:gd name="connsiteY1" fmla="*/ 0 h 6857999"/>
              <a:gd name="connsiteX2" fmla="*/ 6684461 w 7439095"/>
              <a:gd name="connsiteY2" fmla="*/ 109419 h 6857999"/>
              <a:gd name="connsiteX3" fmla="*/ 7439095 w 7439095"/>
              <a:gd name="connsiteY3" fmla="*/ 3089696 h 6857999"/>
              <a:gd name="connsiteX4" fmla="*/ 6196960 w 7439095"/>
              <a:gd name="connsiteY4" fmla="*/ 6830622 h 6857999"/>
              <a:gd name="connsiteX5" fmla="*/ 6175446 w 7439095"/>
              <a:gd name="connsiteY5" fmla="*/ 6857999 h 6857999"/>
              <a:gd name="connsiteX6" fmla="*/ 0 w 7439095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439095" h="6857999">
                <a:moveTo>
                  <a:pt x="0" y="0"/>
                </a:moveTo>
                <a:lnTo>
                  <a:pt x="6621547" y="0"/>
                </a:lnTo>
                <a:lnTo>
                  <a:pt x="6684461" y="109419"/>
                </a:lnTo>
                <a:cubicBezTo>
                  <a:pt x="7165725" y="995346"/>
                  <a:pt x="7439095" y="2010596"/>
                  <a:pt x="7439095" y="3089696"/>
                </a:cubicBezTo>
                <a:cubicBezTo>
                  <a:pt x="7439095" y="4492526"/>
                  <a:pt x="6977100" y="5787451"/>
                  <a:pt x="6196960" y="6830622"/>
                </a:cubicBezTo>
                <a:lnTo>
                  <a:pt x="6175446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52BB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err="1">
              <a:noFill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E9EA52F-A3D5-B05A-9E45-D040B98A71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D300310-57D8-2453-D42C-CDA08ECD25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254C940-E3B9-7C36-27EF-C2A69C270D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8" y="549275"/>
            <a:ext cx="5144685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A53E702-B31E-E46A-DFEC-8B21AB32E47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6763" y="1989138"/>
            <a:ext cx="2376487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AAB13D72-A4B3-24FA-05E6-0E7AFC2CB2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40126" y="1989138"/>
            <a:ext cx="2376487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07407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230" userDrawn="1">
          <p15:clr>
            <a:srgbClr val="000000"/>
          </p15:clr>
        </p15:guide>
        <p15:guide id="3" pos="1980" userDrawn="1">
          <p15:clr>
            <a:srgbClr val="000000"/>
          </p15:clr>
        </p15:guide>
        <p15:guide id="5" pos="3727" userDrawn="1">
          <p15:clr>
            <a:srgbClr val="000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mit Bild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4AD9153F-705F-7727-3E53-551BCD2BD2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04FE2F-771E-B365-F36A-3AB89B0475B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6635750" y="1989138"/>
            <a:ext cx="4789488" cy="4140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platzhalter 16">
            <a:extLst>
              <a:ext uri="{FF2B5EF4-FFF2-40B4-BE49-F238E27FC236}">
                <a16:creationId xmlns:a16="http://schemas.microsoft.com/office/drawing/2014/main" id="{43FDC8FD-6466-2B9F-EC17-DC753EEC51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765" y="1813272"/>
            <a:ext cx="6077634" cy="5044729"/>
          </a:xfrm>
          <a:custGeom>
            <a:avLst/>
            <a:gdLst>
              <a:gd name="connsiteX0" fmla="*/ 2674435 w 6285998"/>
              <a:gd name="connsiteY0" fmla="*/ 0 h 5217681"/>
              <a:gd name="connsiteX1" fmla="*/ 6285998 w 6285998"/>
              <a:gd name="connsiteY1" fmla="*/ 3611563 h 5217681"/>
              <a:gd name="connsiteX2" fmla="*/ 6002184 w 6285998"/>
              <a:gd name="connsiteY2" fmla="*/ 5017347 h 5217681"/>
              <a:gd name="connsiteX3" fmla="*/ 5905677 w 6285998"/>
              <a:gd name="connsiteY3" fmla="*/ 5217681 h 5217681"/>
              <a:gd name="connsiteX4" fmla="*/ 0 w 6285998"/>
              <a:gd name="connsiteY4" fmla="*/ 5217681 h 5217681"/>
              <a:gd name="connsiteX5" fmla="*/ 0 w 6285998"/>
              <a:gd name="connsiteY5" fmla="*/ 1190578 h 5217681"/>
              <a:gd name="connsiteX6" fmla="*/ 120675 w 6285998"/>
              <a:gd name="connsiteY6" fmla="*/ 1057803 h 5217681"/>
              <a:gd name="connsiteX7" fmla="*/ 2674435 w 6285998"/>
              <a:gd name="connsiteY7" fmla="*/ 0 h 5217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85998" h="5217681">
                <a:moveTo>
                  <a:pt x="2674435" y="0"/>
                </a:moveTo>
                <a:cubicBezTo>
                  <a:pt x="4669046" y="0"/>
                  <a:pt x="6285998" y="1616952"/>
                  <a:pt x="6285998" y="3611563"/>
                </a:cubicBezTo>
                <a:cubicBezTo>
                  <a:pt x="6285998" y="4110216"/>
                  <a:pt x="6184939" y="4585265"/>
                  <a:pt x="6002184" y="5017347"/>
                </a:cubicBezTo>
                <a:lnTo>
                  <a:pt x="5905677" y="5217681"/>
                </a:lnTo>
                <a:lnTo>
                  <a:pt x="0" y="5217681"/>
                </a:lnTo>
                <a:lnTo>
                  <a:pt x="0" y="1190578"/>
                </a:lnTo>
                <a:lnTo>
                  <a:pt x="120675" y="1057803"/>
                </a:lnTo>
                <a:cubicBezTo>
                  <a:pt x="774239" y="404238"/>
                  <a:pt x="1677130" y="0"/>
                  <a:pt x="2674435" y="0"/>
                </a:cubicBezTo>
                <a:close/>
              </a:path>
            </a:pathLst>
          </a:custGeom>
          <a:solidFill>
            <a:srgbClr val="7CCEF4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0" name="Textplatzhalter 18">
            <a:extLst>
              <a:ext uri="{FF2B5EF4-FFF2-40B4-BE49-F238E27FC236}">
                <a16:creationId xmlns:a16="http://schemas.microsoft.com/office/drawing/2014/main" id="{8DA031ED-F057-D923-8D08-538FCA84F8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-617" y="2175066"/>
            <a:ext cx="5354043" cy="4682933"/>
          </a:xfrm>
          <a:custGeom>
            <a:avLst/>
            <a:gdLst>
              <a:gd name="connsiteX0" fmla="*/ 2300236 w 5537600"/>
              <a:gd name="connsiteY0" fmla="*/ 0 h 4843482"/>
              <a:gd name="connsiteX1" fmla="*/ 5537600 w 5537600"/>
              <a:gd name="connsiteY1" fmla="*/ 3237364 h 4843482"/>
              <a:gd name="connsiteX2" fmla="*/ 5146868 w 5537600"/>
              <a:gd name="connsiteY2" fmla="*/ 4780484 h 4843482"/>
              <a:gd name="connsiteX3" fmla="*/ 5108596 w 5537600"/>
              <a:gd name="connsiteY3" fmla="*/ 4843482 h 4843482"/>
              <a:gd name="connsiteX4" fmla="*/ 0 w 5537600"/>
              <a:gd name="connsiteY4" fmla="*/ 4843482 h 4843482"/>
              <a:gd name="connsiteX5" fmla="*/ 0 w 5537600"/>
              <a:gd name="connsiteY5" fmla="*/ 960386 h 4843482"/>
              <a:gd name="connsiteX6" fmla="*/ 11074 w 5537600"/>
              <a:gd name="connsiteY6" fmla="*/ 948202 h 4843482"/>
              <a:gd name="connsiteX7" fmla="*/ 2300236 w 5537600"/>
              <a:gd name="connsiteY7" fmla="*/ 0 h 4843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37600" h="4843482">
                <a:moveTo>
                  <a:pt x="2300236" y="0"/>
                </a:moveTo>
                <a:cubicBezTo>
                  <a:pt x="4088183" y="0"/>
                  <a:pt x="5537600" y="1449417"/>
                  <a:pt x="5537600" y="3237364"/>
                </a:cubicBezTo>
                <a:cubicBezTo>
                  <a:pt x="5537600" y="3796098"/>
                  <a:pt x="5396056" y="4321772"/>
                  <a:pt x="5146868" y="4780484"/>
                </a:cubicBezTo>
                <a:lnTo>
                  <a:pt x="5108596" y="4843482"/>
                </a:lnTo>
                <a:lnTo>
                  <a:pt x="0" y="4843482"/>
                </a:lnTo>
                <a:lnTo>
                  <a:pt x="0" y="960386"/>
                </a:lnTo>
                <a:lnTo>
                  <a:pt x="11074" y="948202"/>
                </a:lnTo>
                <a:cubicBezTo>
                  <a:pt x="596922" y="362355"/>
                  <a:pt x="1406263" y="0"/>
                  <a:pt x="2300236" y="0"/>
                </a:cubicBezTo>
                <a:close/>
              </a:path>
            </a:pathLst>
          </a:custGeom>
          <a:solidFill>
            <a:srgbClr val="C7D540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F05426B8-9A79-2CEB-2FCA-039CA7CDB64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-2381" y="2418326"/>
            <a:ext cx="4857375" cy="4439675"/>
          </a:xfrm>
          <a:custGeom>
            <a:avLst/>
            <a:gdLst>
              <a:gd name="connsiteX0" fmla="*/ 2076075 w 4857375"/>
              <a:gd name="connsiteY0" fmla="*/ 0 h 4439675"/>
              <a:gd name="connsiteX1" fmla="*/ 4857375 w 4857375"/>
              <a:gd name="connsiteY1" fmla="*/ 2781300 h 4439675"/>
              <a:gd name="connsiteX2" fmla="*/ 4382373 w 4857375"/>
              <a:gd name="connsiteY2" fmla="*/ 4336352 h 4439675"/>
              <a:gd name="connsiteX3" fmla="*/ 4305109 w 4857375"/>
              <a:gd name="connsiteY3" fmla="*/ 4439675 h 4439675"/>
              <a:gd name="connsiteX4" fmla="*/ 0 w 4857375"/>
              <a:gd name="connsiteY4" fmla="*/ 4439675 h 4439675"/>
              <a:gd name="connsiteX5" fmla="*/ 0 w 4857375"/>
              <a:gd name="connsiteY5" fmla="*/ 934993 h 4439675"/>
              <a:gd name="connsiteX6" fmla="*/ 109399 w 4857375"/>
              <a:gd name="connsiteY6" fmla="*/ 814624 h 4439675"/>
              <a:gd name="connsiteX7" fmla="*/ 2076075 w 4857375"/>
              <a:gd name="connsiteY7" fmla="*/ 0 h 4439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57375" h="4439675">
                <a:moveTo>
                  <a:pt x="2076075" y="0"/>
                </a:moveTo>
                <a:cubicBezTo>
                  <a:pt x="3612145" y="0"/>
                  <a:pt x="4857375" y="1245230"/>
                  <a:pt x="4857375" y="2781300"/>
                </a:cubicBezTo>
                <a:cubicBezTo>
                  <a:pt x="4857375" y="3357327"/>
                  <a:pt x="4682265" y="3892453"/>
                  <a:pt x="4382373" y="4336352"/>
                </a:cubicBezTo>
                <a:lnTo>
                  <a:pt x="4305109" y="4439675"/>
                </a:lnTo>
                <a:lnTo>
                  <a:pt x="0" y="4439675"/>
                </a:lnTo>
                <a:lnTo>
                  <a:pt x="0" y="934993"/>
                </a:lnTo>
                <a:lnTo>
                  <a:pt x="109399" y="814624"/>
                </a:lnTo>
                <a:cubicBezTo>
                  <a:pt x="612715" y="311308"/>
                  <a:pt x="1308040" y="0"/>
                  <a:pt x="2076075" y="0"/>
                </a:cubicBezTo>
                <a:close/>
              </a:path>
            </a:pathLst>
          </a:custGeom>
          <a:solidFill>
            <a:srgbClr val="FDC75F"/>
          </a:solidFill>
        </p:spPr>
        <p:txBody>
          <a:bodyPr wrap="square" lIns="792000" rIns="792000" anchor="ctr" anchorCtr="0">
            <a:noAutofit/>
          </a:bodyPr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Lorem ipsum dolor sit amet, consectetuer adipiscing elit. Maecenas porttitor congue massa. </a:t>
            </a:r>
            <a:r>
              <a:rPr lang="de-DE" err="1"/>
              <a:t>Fusce</a:t>
            </a:r>
            <a:r>
              <a:rPr lang="de-DE"/>
              <a:t> posuere, magna sed pulvinar ultricies, purus lectus malesuada libero, sit amet commodo magna eros quis </a:t>
            </a:r>
            <a:r>
              <a:rPr lang="de-DE" err="1"/>
              <a:t>urna</a:t>
            </a:r>
            <a:r>
              <a:rPr lang="de-DE"/>
              <a:t>.</a:t>
            </a: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366AF272-E44D-A049-60C3-390E13F29D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1B2D88C2-32FC-0FE1-E232-CCE7B2E805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0844348-CCC1-7CB7-163E-78FB1F4272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394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80" userDrawn="1">
          <p15:clr>
            <a:srgbClr val="00000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6">
            <a:extLst>
              <a:ext uri="{FF2B5EF4-FFF2-40B4-BE49-F238E27FC236}">
                <a16:creationId xmlns:a16="http://schemas.microsoft.com/office/drawing/2014/main" id="{33E93454-52BA-3B04-C720-1F5E1A0DCAD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0B45F97-DA11-626E-BDBC-215DBB50CB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5A6A2D-71D2-8884-E207-D8DD7B662B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9F6183DF-2D69-D2F4-2571-B92D169B4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8" y="549275"/>
            <a:ext cx="10653309" cy="143986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38316288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 13">
            <a:extLst>
              <a:ext uri="{FF2B5EF4-FFF2-40B4-BE49-F238E27FC236}">
                <a16:creationId xmlns:a16="http://schemas.microsoft.com/office/drawing/2014/main" id="{5F2B7655-D663-9333-13A8-D4E4B3FF5D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670596 h 6858000"/>
              <a:gd name="connsiteX3" fmla="*/ 12046764 w 12192000"/>
              <a:gd name="connsiteY3" fmla="*/ 4038948 h 6858000"/>
              <a:gd name="connsiteX4" fmla="*/ 10546678 w 12192000"/>
              <a:gd name="connsiteY4" fmla="*/ 6511416 h 6858000"/>
              <a:gd name="connsiteX5" fmla="*/ 10246459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670596"/>
                </a:lnTo>
                <a:lnTo>
                  <a:pt x="12046764" y="4038948"/>
                </a:lnTo>
                <a:cubicBezTo>
                  <a:pt x="11666629" y="4937686"/>
                  <a:pt x="11159049" y="5769394"/>
                  <a:pt x="10546678" y="6511416"/>
                </a:cubicBezTo>
                <a:lnTo>
                  <a:pt x="1024645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DC75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Freihandform 11">
            <a:extLst>
              <a:ext uri="{FF2B5EF4-FFF2-40B4-BE49-F238E27FC236}">
                <a16:creationId xmlns:a16="http://schemas.microsoft.com/office/drawing/2014/main" id="{250C5180-E883-5192-6FA0-FB74CBF5B2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2900047 h 6858000"/>
              <a:gd name="connsiteX3" fmla="*/ 12095287 w 12192000"/>
              <a:gd name="connsiteY3" fmla="*/ 3240625 h 6858000"/>
              <a:gd name="connsiteX4" fmla="*/ 10258388 w 12192000"/>
              <a:gd name="connsiteY4" fmla="*/ 6633337 h 6858000"/>
              <a:gd name="connsiteX5" fmla="*/ 10063779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2900047"/>
                </a:lnTo>
                <a:lnTo>
                  <a:pt x="12095287" y="3240625"/>
                </a:lnTo>
                <a:cubicBezTo>
                  <a:pt x="11705083" y="4495169"/>
                  <a:pt x="11074882" y="5643974"/>
                  <a:pt x="10258388" y="6633337"/>
                </a:cubicBezTo>
                <a:lnTo>
                  <a:pt x="1006377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1919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8B6E51B-4E6A-635B-04A2-D0FE985F4A7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1361738" cy="6858000"/>
          </a:xfrm>
          <a:custGeom>
            <a:avLst/>
            <a:gdLst>
              <a:gd name="connsiteX0" fmla="*/ 0 w 11361738"/>
              <a:gd name="connsiteY0" fmla="*/ 0 h 6858000"/>
              <a:gd name="connsiteX1" fmla="*/ 11323560 w 11361738"/>
              <a:gd name="connsiteY1" fmla="*/ 0 h 6858000"/>
              <a:gd name="connsiteX2" fmla="*/ 11348702 w 11361738"/>
              <a:gd name="connsiteY2" fmla="*/ 330633 h 6858000"/>
              <a:gd name="connsiteX3" fmla="*/ 11361738 w 11361738"/>
              <a:gd name="connsiteY3" fmla="*/ 846188 h 6858000"/>
              <a:gd name="connsiteX4" fmla="*/ 9371399 w 11361738"/>
              <a:gd name="connsiteY4" fmla="*/ 6840469 h 6858000"/>
              <a:gd name="connsiteX5" fmla="*/ 9357623 w 11361738"/>
              <a:gd name="connsiteY5" fmla="*/ 6858000 h 6858000"/>
              <a:gd name="connsiteX6" fmla="*/ 0 w 11361738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61738" h="6858000">
                <a:moveTo>
                  <a:pt x="0" y="0"/>
                </a:moveTo>
                <a:lnTo>
                  <a:pt x="11323560" y="0"/>
                </a:lnTo>
                <a:lnTo>
                  <a:pt x="11348702" y="330633"/>
                </a:lnTo>
                <a:cubicBezTo>
                  <a:pt x="11357358" y="501392"/>
                  <a:pt x="11361738" y="673278"/>
                  <a:pt x="11361738" y="846188"/>
                </a:cubicBezTo>
                <a:cubicBezTo>
                  <a:pt x="11361738" y="3094015"/>
                  <a:pt x="10621459" y="5168941"/>
                  <a:pt x="9371399" y="6840469"/>
                </a:cubicBezTo>
                <a:lnTo>
                  <a:pt x="935762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DDBDA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79B3438-4DCF-FA12-A0AD-C764E4AD1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3E25EA-F0B7-8B8B-F009-DDF0DA8270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078FCCF2-783B-14B8-7743-915DC292EF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8" y="549275"/>
            <a:ext cx="10214797" cy="143986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1174122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3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ihandform 21">
            <a:extLst>
              <a:ext uri="{FF2B5EF4-FFF2-40B4-BE49-F238E27FC236}">
                <a16:creationId xmlns:a16="http://schemas.microsoft.com/office/drawing/2014/main" id="{F6BD6A1B-542C-9B40-42FA-D5AF69F5B6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11925217" cy="6858000"/>
          </a:xfrm>
          <a:custGeom>
            <a:avLst/>
            <a:gdLst>
              <a:gd name="connsiteX0" fmla="*/ 0 w 11925217"/>
              <a:gd name="connsiteY0" fmla="*/ 0 h 6858000"/>
              <a:gd name="connsiteX1" fmla="*/ 11920432 w 11925217"/>
              <a:gd name="connsiteY1" fmla="*/ 0 h 6858000"/>
              <a:gd name="connsiteX2" fmla="*/ 11925217 w 11925217"/>
              <a:gd name="connsiteY2" fmla="*/ 189235 h 6858000"/>
              <a:gd name="connsiteX3" fmla="*/ 8176607 w 11925217"/>
              <a:gd name="connsiteY3" fmla="*/ 6847915 h 6858000"/>
              <a:gd name="connsiteX4" fmla="*/ 8159066 w 11925217"/>
              <a:gd name="connsiteY4" fmla="*/ 6858000 h 6858000"/>
              <a:gd name="connsiteX5" fmla="*/ 119638 w 11925217"/>
              <a:gd name="connsiteY5" fmla="*/ 6858000 h 6858000"/>
              <a:gd name="connsiteX6" fmla="*/ 102098 w 11925217"/>
              <a:gd name="connsiteY6" fmla="*/ 6847915 h 6858000"/>
              <a:gd name="connsiteX7" fmla="*/ 0 w 11925217"/>
              <a:gd name="connsiteY7" fmla="*/ 67824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25217" h="6858000">
                <a:moveTo>
                  <a:pt x="0" y="0"/>
                </a:moveTo>
                <a:lnTo>
                  <a:pt x="11920432" y="0"/>
                </a:lnTo>
                <a:lnTo>
                  <a:pt x="11925217" y="189235"/>
                </a:lnTo>
                <a:cubicBezTo>
                  <a:pt x="11925217" y="3011120"/>
                  <a:pt x="10423987" y="5482373"/>
                  <a:pt x="8176607" y="6847915"/>
                </a:cubicBezTo>
                <a:lnTo>
                  <a:pt x="8159066" y="6858000"/>
                </a:lnTo>
                <a:lnTo>
                  <a:pt x="119638" y="6858000"/>
                </a:lnTo>
                <a:lnTo>
                  <a:pt x="102098" y="6847915"/>
                </a:lnTo>
                <a:lnTo>
                  <a:pt x="0" y="6782461"/>
                </a:lnTo>
                <a:close/>
              </a:path>
            </a:pathLst>
          </a:custGeom>
          <a:solidFill>
            <a:srgbClr val="52BB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noFill/>
            </a:endParaRPr>
          </a:p>
        </p:txBody>
      </p:sp>
      <p:sp>
        <p:nvSpPr>
          <p:cNvPr id="20" name="Freihandform 19">
            <a:extLst>
              <a:ext uri="{FF2B5EF4-FFF2-40B4-BE49-F238E27FC236}">
                <a16:creationId xmlns:a16="http://schemas.microsoft.com/office/drawing/2014/main" id="{2496B52E-F428-EFAD-D160-E09AA5105E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11299151" cy="6858000"/>
          </a:xfrm>
          <a:custGeom>
            <a:avLst/>
            <a:gdLst>
              <a:gd name="connsiteX0" fmla="*/ 0 w 11299151"/>
              <a:gd name="connsiteY0" fmla="*/ 0 h 6858000"/>
              <a:gd name="connsiteX1" fmla="*/ 11287986 w 11299151"/>
              <a:gd name="connsiteY1" fmla="*/ 0 h 6858000"/>
              <a:gd name="connsiteX2" fmla="*/ 11289020 w 11299151"/>
              <a:gd name="connsiteY2" fmla="*/ 13600 h 6858000"/>
              <a:gd name="connsiteX3" fmla="*/ 11299151 w 11299151"/>
              <a:gd name="connsiteY3" fmla="*/ 414260 h 6858000"/>
              <a:gd name="connsiteX4" fmla="*/ 8171694 w 11299151"/>
              <a:gd name="connsiteY4" fmla="*/ 6653350 h 6858000"/>
              <a:gd name="connsiteX5" fmla="*/ 7883906 w 11299151"/>
              <a:gd name="connsiteY5" fmla="*/ 6858000 h 6858000"/>
              <a:gd name="connsiteX6" fmla="*/ 0 w 1129915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99151" h="6858000">
                <a:moveTo>
                  <a:pt x="0" y="0"/>
                </a:moveTo>
                <a:lnTo>
                  <a:pt x="11287986" y="0"/>
                </a:lnTo>
                <a:lnTo>
                  <a:pt x="11289020" y="13600"/>
                </a:lnTo>
                <a:cubicBezTo>
                  <a:pt x="11295747" y="146304"/>
                  <a:pt x="11299151" y="279885"/>
                  <a:pt x="11299151" y="414260"/>
                </a:cubicBezTo>
                <a:cubicBezTo>
                  <a:pt x="11299151" y="2967394"/>
                  <a:pt x="10070253" y="5233503"/>
                  <a:pt x="8171694" y="6653350"/>
                </a:cubicBezTo>
                <a:lnTo>
                  <a:pt x="788390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noFill/>
            </a:endParaRP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E585D73E-D95B-03B1-C34F-EC6DDADF16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2338" y="0"/>
            <a:ext cx="10360959" cy="6858001"/>
          </a:xfrm>
          <a:custGeom>
            <a:avLst/>
            <a:gdLst>
              <a:gd name="connsiteX0" fmla="*/ 0 w 10360959"/>
              <a:gd name="connsiteY0" fmla="*/ 0 h 6858001"/>
              <a:gd name="connsiteX1" fmla="*/ 10332021 w 10360959"/>
              <a:gd name="connsiteY1" fmla="*/ 0 h 6858001"/>
              <a:gd name="connsiteX2" fmla="*/ 10350025 w 10360959"/>
              <a:gd name="connsiteY2" fmla="*/ 236743 h 6858001"/>
              <a:gd name="connsiteX3" fmla="*/ 10360959 w 10360959"/>
              <a:gd name="connsiteY3" fmla="*/ 669198 h 6858001"/>
              <a:gd name="connsiteX4" fmla="*/ 7899561 w 10360959"/>
              <a:gd name="connsiteY4" fmla="*/ 6611539 h 6858001"/>
              <a:gd name="connsiteX5" fmla="*/ 7641056 w 10360959"/>
              <a:gd name="connsiteY5" fmla="*/ 6858001 h 6858001"/>
              <a:gd name="connsiteX6" fmla="*/ 0 w 10360959"/>
              <a:gd name="connsiteY6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60959" h="6858001">
                <a:moveTo>
                  <a:pt x="0" y="0"/>
                </a:moveTo>
                <a:lnTo>
                  <a:pt x="10332021" y="0"/>
                </a:lnTo>
                <a:lnTo>
                  <a:pt x="10350025" y="236743"/>
                </a:lnTo>
                <a:cubicBezTo>
                  <a:pt x="10357285" y="379978"/>
                  <a:pt x="10360959" y="524159"/>
                  <a:pt x="10360959" y="669198"/>
                </a:cubicBezTo>
                <a:cubicBezTo>
                  <a:pt x="10360959" y="2989827"/>
                  <a:pt x="9420339" y="5090762"/>
                  <a:pt x="7899561" y="6611539"/>
                </a:cubicBezTo>
                <a:lnTo>
                  <a:pt x="7641056" y="6858001"/>
                </a:lnTo>
                <a:lnTo>
                  <a:pt x="0" y="6858001"/>
                </a:lnTo>
                <a:close/>
              </a:path>
            </a:pathLst>
          </a:custGeom>
          <a:solidFill>
            <a:srgbClr val="DDDBDA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3" name="Textplatzhalter 27">
            <a:extLst>
              <a:ext uri="{FF2B5EF4-FFF2-40B4-BE49-F238E27FC236}">
                <a16:creationId xmlns:a16="http://schemas.microsoft.com/office/drawing/2014/main" id="{BF367D4E-A9E4-52E2-F80F-669404FC1925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66762" y="549275"/>
            <a:ext cx="8491538" cy="3527425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4800" b="0" i="1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 der Präsentation</a:t>
            </a:r>
          </a:p>
        </p:txBody>
      </p:sp>
      <p:sp>
        <p:nvSpPr>
          <p:cNvPr id="4" name="Textplatzhalter 31">
            <a:extLst>
              <a:ext uri="{FF2B5EF4-FFF2-40B4-BE49-F238E27FC236}">
                <a16:creationId xmlns:a16="http://schemas.microsoft.com/office/drawing/2014/main" id="{8AFBD13C-6440-6FCD-5E1E-60F3F59ECC89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66763" y="4257675"/>
            <a:ext cx="7324045" cy="1331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Untertitel der Präsentation</a:t>
            </a:r>
          </a:p>
        </p:txBody>
      </p:sp>
      <p:sp>
        <p:nvSpPr>
          <p:cNvPr id="7" name="Textplatzhalter 31">
            <a:extLst>
              <a:ext uri="{FF2B5EF4-FFF2-40B4-BE49-F238E27FC236}">
                <a16:creationId xmlns:a16="http://schemas.microsoft.com/office/drawing/2014/main" id="{30D2279B-2E2F-D75F-DDE0-8F24DB424C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6762" y="6068239"/>
            <a:ext cx="5329238" cy="276999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20.03.2025</a:t>
            </a:r>
          </a:p>
        </p:txBody>
      </p:sp>
      <p:pic>
        <p:nvPicPr>
          <p:cNvPr id="6" name="Grafik 5" descr="Ein Bild, das Text, Schrift, Grafiken, Logo enthält.&#10;&#10;KI-generierte Inhalte können fehlerhaft sein.">
            <a:extLst>
              <a:ext uri="{FF2B5EF4-FFF2-40B4-BE49-F238E27FC236}">
                <a16:creationId xmlns:a16="http://schemas.microsoft.com/office/drawing/2014/main" id="{3A37A407-5623-7A9F-EB1D-5C682C7637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01837" y="5594400"/>
            <a:ext cx="1654803" cy="786928"/>
          </a:xfrm>
          <a:prstGeom prst="rect">
            <a:avLst/>
          </a:prstGeom>
        </p:spPr>
      </p:pic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A4FFA09E-0BC6-4118-07EE-B78C7E2DB1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13" y="379413"/>
            <a:ext cx="1204912" cy="377825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 b="0" i="0"/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86285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9" userDrawn="1">
          <p15:clr>
            <a:srgbClr val="000000"/>
          </p15:clr>
        </p15:guide>
        <p15:guide id="3" orient="horz" pos="2682" userDrawn="1">
          <p15:clr>
            <a:srgbClr val="000000"/>
          </p15:clr>
        </p15:guide>
        <p15:guide id="5" orient="horz" pos="2568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12755BF7-2A20-9D05-FC8A-EDCB2FD66F5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AD5BF2-E13B-71CE-8CA6-20764E1EC1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26E0655-0060-5368-9EDD-016FBE12D1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52A4BCBC-3AD4-A002-9BDB-19969B8F3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081634D-C0F2-5ACC-3454-CA0359E75B5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6763" y="1989138"/>
            <a:ext cx="5329237" cy="4140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6656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00000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3 neg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12755BF7-2A20-9D05-FC8A-EDCB2FD66F5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AD5BF2-E13B-71CE-8CA6-20764E1EC1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26E0655-0060-5368-9EDD-016FBE12D1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52A4BCBC-3AD4-A002-9BDB-19969B8F3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081634D-C0F2-5ACC-3454-CA0359E75B5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6763" y="1989138"/>
            <a:ext cx="5329237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08071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00000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6">
            <a:extLst>
              <a:ext uri="{FF2B5EF4-FFF2-40B4-BE49-F238E27FC236}">
                <a16:creationId xmlns:a16="http://schemas.microsoft.com/office/drawing/2014/main" id="{44AA9D04-78E5-4B6D-5A14-232738FBB6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10D9367-4CD4-E717-E12C-9005D7479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5C1571-D5E1-F9ED-A673-0470826EA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E466CF1A-F950-3EEA-725D-E4F519AC30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F45C52B-7069-BADC-C7F1-F6F7805DB6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66763" y="1989138"/>
            <a:ext cx="3097212" cy="4140200"/>
          </a:xfrm>
          <a:solidFill>
            <a:schemeClr val="bg1"/>
          </a:solidFill>
        </p:spPr>
        <p:txBody>
          <a:bodyPr lIns="252000" tIns="252000" rIns="252000" b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B1AA037C-A605-E570-A076-2A62284EB66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45612" y="1989138"/>
            <a:ext cx="3097212" cy="4140200"/>
          </a:xfrm>
          <a:solidFill>
            <a:schemeClr val="bg1"/>
          </a:solidFill>
        </p:spPr>
        <p:txBody>
          <a:bodyPr lIns="252000" tIns="252000" rIns="252000" b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1C0AE576-D7DF-D9C7-4EC8-68A480F14D0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24461" y="1989138"/>
            <a:ext cx="3097212" cy="4140200"/>
          </a:xfrm>
          <a:solidFill>
            <a:schemeClr val="bg1"/>
          </a:solidFill>
        </p:spPr>
        <p:txBody>
          <a:bodyPr lIns="252000" tIns="252000" rIns="252000" b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61328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4" userDrawn="1">
          <p15:clr>
            <a:srgbClr val="000000"/>
          </p15:clr>
        </p15:guide>
        <p15:guide id="2" pos="2865" userDrawn="1">
          <p15:clr>
            <a:srgbClr val="000000"/>
          </p15:clr>
        </p15:guide>
        <p15:guide id="3" pos="4815" userDrawn="1">
          <p15:clr>
            <a:srgbClr val="000000"/>
          </p15:clr>
        </p15:guide>
        <p15:guide id="4" pos="5246" userDrawn="1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4 neg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6">
            <a:extLst>
              <a:ext uri="{FF2B5EF4-FFF2-40B4-BE49-F238E27FC236}">
                <a16:creationId xmlns:a16="http://schemas.microsoft.com/office/drawing/2014/main" id="{44AA9D04-78E5-4B6D-5A14-232738FBB6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10D9367-4CD4-E717-E12C-9005D7479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5C1571-D5E1-F9ED-A673-0470826EA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E466CF1A-F950-3EEA-725D-E4F519AC30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F45C52B-7069-BADC-C7F1-F6F7805DB6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66763" y="1989138"/>
            <a:ext cx="3097212" cy="4140200"/>
          </a:xfrm>
          <a:solidFill>
            <a:srgbClr val="52BBB5"/>
          </a:solidFill>
        </p:spPr>
        <p:txBody>
          <a:bodyPr lIns="252000" tIns="252000" rIns="252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B1AA037C-A605-E570-A076-2A62284EB66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45612" y="1989138"/>
            <a:ext cx="3097212" cy="4140200"/>
          </a:xfrm>
          <a:solidFill>
            <a:srgbClr val="52BBB5"/>
          </a:solidFill>
        </p:spPr>
        <p:txBody>
          <a:bodyPr lIns="252000" tIns="252000" rIns="252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1C0AE576-D7DF-D9C7-4EC8-68A480F14D0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24461" y="1989138"/>
            <a:ext cx="3097212" cy="4140200"/>
          </a:xfrm>
          <a:solidFill>
            <a:srgbClr val="52BBB5"/>
          </a:solidFill>
        </p:spPr>
        <p:txBody>
          <a:bodyPr lIns="252000" tIns="252000" rIns="252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64393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4" userDrawn="1">
          <p15:clr>
            <a:srgbClr val="000000"/>
          </p15:clr>
        </p15:guide>
        <p15:guide id="2" pos="2865" userDrawn="1">
          <p15:clr>
            <a:srgbClr val="000000"/>
          </p15:clr>
        </p15:guide>
        <p15:guide id="3" pos="4815" userDrawn="1">
          <p15:clr>
            <a:srgbClr val="000000"/>
          </p15:clr>
        </p15:guide>
        <p15:guide id="4" pos="5246" userDrawn="1">
          <p15:clr>
            <a:srgbClr val="000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12755BF7-2A20-9D05-FC8A-EDCB2FD66F5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2" name="Textplatzhalter 16">
            <a:extLst>
              <a:ext uri="{FF2B5EF4-FFF2-40B4-BE49-F238E27FC236}">
                <a16:creationId xmlns:a16="http://schemas.microsoft.com/office/drawing/2014/main" id="{464BA0E9-E3E6-E64F-B302-3C52986D9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765" y="1813272"/>
            <a:ext cx="6077634" cy="5044729"/>
          </a:xfrm>
          <a:custGeom>
            <a:avLst/>
            <a:gdLst>
              <a:gd name="connsiteX0" fmla="*/ 2674435 w 6285998"/>
              <a:gd name="connsiteY0" fmla="*/ 0 h 5217681"/>
              <a:gd name="connsiteX1" fmla="*/ 6285998 w 6285998"/>
              <a:gd name="connsiteY1" fmla="*/ 3611563 h 5217681"/>
              <a:gd name="connsiteX2" fmla="*/ 6002184 w 6285998"/>
              <a:gd name="connsiteY2" fmla="*/ 5017347 h 5217681"/>
              <a:gd name="connsiteX3" fmla="*/ 5905677 w 6285998"/>
              <a:gd name="connsiteY3" fmla="*/ 5217681 h 5217681"/>
              <a:gd name="connsiteX4" fmla="*/ 0 w 6285998"/>
              <a:gd name="connsiteY4" fmla="*/ 5217681 h 5217681"/>
              <a:gd name="connsiteX5" fmla="*/ 0 w 6285998"/>
              <a:gd name="connsiteY5" fmla="*/ 1190578 h 5217681"/>
              <a:gd name="connsiteX6" fmla="*/ 120675 w 6285998"/>
              <a:gd name="connsiteY6" fmla="*/ 1057803 h 5217681"/>
              <a:gd name="connsiteX7" fmla="*/ 2674435 w 6285998"/>
              <a:gd name="connsiteY7" fmla="*/ 0 h 5217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85998" h="5217681">
                <a:moveTo>
                  <a:pt x="2674435" y="0"/>
                </a:moveTo>
                <a:cubicBezTo>
                  <a:pt x="4669046" y="0"/>
                  <a:pt x="6285998" y="1616952"/>
                  <a:pt x="6285998" y="3611563"/>
                </a:cubicBezTo>
                <a:cubicBezTo>
                  <a:pt x="6285998" y="4110216"/>
                  <a:pt x="6184939" y="4585265"/>
                  <a:pt x="6002184" y="5017347"/>
                </a:cubicBezTo>
                <a:lnTo>
                  <a:pt x="5905677" y="5217681"/>
                </a:lnTo>
                <a:lnTo>
                  <a:pt x="0" y="5217681"/>
                </a:lnTo>
                <a:lnTo>
                  <a:pt x="0" y="1190578"/>
                </a:lnTo>
                <a:lnTo>
                  <a:pt x="120675" y="1057803"/>
                </a:lnTo>
                <a:cubicBezTo>
                  <a:pt x="774239" y="404238"/>
                  <a:pt x="1677130" y="0"/>
                  <a:pt x="2674435" y="0"/>
                </a:cubicBezTo>
                <a:close/>
              </a:path>
            </a:pathLst>
          </a:custGeom>
          <a:solidFill>
            <a:srgbClr val="52BBB5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3" name="Textplatzhalter 18">
            <a:extLst>
              <a:ext uri="{FF2B5EF4-FFF2-40B4-BE49-F238E27FC236}">
                <a16:creationId xmlns:a16="http://schemas.microsoft.com/office/drawing/2014/main" id="{1A061A86-D473-C573-71D8-924147EDAC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-617" y="2175066"/>
            <a:ext cx="5354043" cy="4682933"/>
          </a:xfrm>
          <a:custGeom>
            <a:avLst/>
            <a:gdLst>
              <a:gd name="connsiteX0" fmla="*/ 2300236 w 5537600"/>
              <a:gd name="connsiteY0" fmla="*/ 0 h 4843482"/>
              <a:gd name="connsiteX1" fmla="*/ 5537600 w 5537600"/>
              <a:gd name="connsiteY1" fmla="*/ 3237364 h 4843482"/>
              <a:gd name="connsiteX2" fmla="*/ 5146868 w 5537600"/>
              <a:gd name="connsiteY2" fmla="*/ 4780484 h 4843482"/>
              <a:gd name="connsiteX3" fmla="*/ 5108596 w 5537600"/>
              <a:gd name="connsiteY3" fmla="*/ 4843482 h 4843482"/>
              <a:gd name="connsiteX4" fmla="*/ 0 w 5537600"/>
              <a:gd name="connsiteY4" fmla="*/ 4843482 h 4843482"/>
              <a:gd name="connsiteX5" fmla="*/ 0 w 5537600"/>
              <a:gd name="connsiteY5" fmla="*/ 960386 h 4843482"/>
              <a:gd name="connsiteX6" fmla="*/ 11074 w 5537600"/>
              <a:gd name="connsiteY6" fmla="*/ 948202 h 4843482"/>
              <a:gd name="connsiteX7" fmla="*/ 2300236 w 5537600"/>
              <a:gd name="connsiteY7" fmla="*/ 0 h 4843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37600" h="4843482">
                <a:moveTo>
                  <a:pt x="2300236" y="0"/>
                </a:moveTo>
                <a:cubicBezTo>
                  <a:pt x="4088183" y="0"/>
                  <a:pt x="5537600" y="1449417"/>
                  <a:pt x="5537600" y="3237364"/>
                </a:cubicBezTo>
                <a:cubicBezTo>
                  <a:pt x="5537600" y="3796098"/>
                  <a:pt x="5396056" y="4321772"/>
                  <a:pt x="5146868" y="4780484"/>
                </a:cubicBezTo>
                <a:lnTo>
                  <a:pt x="5108596" y="4843482"/>
                </a:lnTo>
                <a:lnTo>
                  <a:pt x="0" y="4843482"/>
                </a:lnTo>
                <a:lnTo>
                  <a:pt x="0" y="960386"/>
                </a:lnTo>
                <a:lnTo>
                  <a:pt x="11074" y="948202"/>
                </a:lnTo>
                <a:cubicBezTo>
                  <a:pt x="596922" y="362355"/>
                  <a:pt x="1406263" y="0"/>
                  <a:pt x="2300236" y="0"/>
                </a:cubicBezTo>
                <a:close/>
              </a:path>
            </a:pathLst>
          </a:custGeom>
          <a:solidFill>
            <a:srgbClr val="C7D540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8A213F-E306-F96F-BC2F-208957A0CEC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-2381" y="2418326"/>
            <a:ext cx="4857375" cy="4439675"/>
          </a:xfrm>
          <a:custGeom>
            <a:avLst/>
            <a:gdLst>
              <a:gd name="connsiteX0" fmla="*/ 2076075 w 4857375"/>
              <a:gd name="connsiteY0" fmla="*/ 0 h 4439675"/>
              <a:gd name="connsiteX1" fmla="*/ 4857375 w 4857375"/>
              <a:gd name="connsiteY1" fmla="*/ 2781300 h 4439675"/>
              <a:gd name="connsiteX2" fmla="*/ 4382373 w 4857375"/>
              <a:gd name="connsiteY2" fmla="*/ 4336352 h 4439675"/>
              <a:gd name="connsiteX3" fmla="*/ 4305109 w 4857375"/>
              <a:gd name="connsiteY3" fmla="*/ 4439675 h 4439675"/>
              <a:gd name="connsiteX4" fmla="*/ 0 w 4857375"/>
              <a:gd name="connsiteY4" fmla="*/ 4439675 h 4439675"/>
              <a:gd name="connsiteX5" fmla="*/ 0 w 4857375"/>
              <a:gd name="connsiteY5" fmla="*/ 934993 h 4439675"/>
              <a:gd name="connsiteX6" fmla="*/ 109399 w 4857375"/>
              <a:gd name="connsiteY6" fmla="*/ 814624 h 4439675"/>
              <a:gd name="connsiteX7" fmla="*/ 2076075 w 4857375"/>
              <a:gd name="connsiteY7" fmla="*/ 0 h 4439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57375" h="4439675">
                <a:moveTo>
                  <a:pt x="2076075" y="0"/>
                </a:moveTo>
                <a:cubicBezTo>
                  <a:pt x="3612145" y="0"/>
                  <a:pt x="4857375" y="1245230"/>
                  <a:pt x="4857375" y="2781300"/>
                </a:cubicBezTo>
                <a:cubicBezTo>
                  <a:pt x="4857375" y="3357327"/>
                  <a:pt x="4682265" y="3892453"/>
                  <a:pt x="4382373" y="4336352"/>
                </a:cubicBezTo>
                <a:lnTo>
                  <a:pt x="4305109" y="4439675"/>
                </a:lnTo>
                <a:lnTo>
                  <a:pt x="0" y="4439675"/>
                </a:lnTo>
                <a:lnTo>
                  <a:pt x="0" y="934993"/>
                </a:lnTo>
                <a:lnTo>
                  <a:pt x="109399" y="814624"/>
                </a:lnTo>
                <a:cubicBezTo>
                  <a:pt x="612715" y="311308"/>
                  <a:pt x="1308040" y="0"/>
                  <a:pt x="2076075" y="0"/>
                </a:cubicBezTo>
                <a:close/>
              </a:path>
            </a:pathLst>
          </a:custGeom>
          <a:solidFill>
            <a:srgbClr val="F5A26C"/>
          </a:solidFill>
        </p:spPr>
        <p:txBody>
          <a:bodyPr wrap="square" lIns="792000" rIns="792000" anchor="ctr" anchorCtr="0">
            <a:noAutofit/>
          </a:bodyPr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de-DE" err="1"/>
              <a:t>urna</a:t>
            </a:r>
            <a:r>
              <a:rPr lang="de-DE"/>
              <a:t>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67BFB6-CF29-3F74-C2FD-980AD49802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BF880E6-DAF2-FFCB-C56D-BF32BB6E0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52441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1CE8FEC9-F2A5-C2EF-14BD-EC931E61749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754488" y="3429000"/>
            <a:ext cx="2437200" cy="3429000"/>
          </a:xfrm>
          <a:prstGeom prst="rect">
            <a:avLst/>
          </a:prstGeom>
          <a:solidFill>
            <a:srgbClr val="BAB5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369F74CB-C2BB-690B-10F7-35BA9AFA901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08023" y="3429000"/>
            <a:ext cx="2450431" cy="3429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665D95AC-FA55-34DC-CED8-7093779C1FE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870823" y="3429000"/>
            <a:ext cx="2437200" cy="3429000"/>
          </a:xfrm>
          <a:prstGeom prst="rect">
            <a:avLst/>
          </a:prstGeom>
          <a:solidFill>
            <a:srgbClr val="BAB5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9" name="Bildplatzhalter 2">
            <a:extLst>
              <a:ext uri="{FF2B5EF4-FFF2-40B4-BE49-F238E27FC236}">
                <a16:creationId xmlns:a16="http://schemas.microsoft.com/office/drawing/2014/main" id="{1D805D10-FDBC-55D8-2559-CA98584D009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437589" y="3429000"/>
            <a:ext cx="2437200" cy="3429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2" name="Bildplatzhalter 2">
            <a:extLst>
              <a:ext uri="{FF2B5EF4-FFF2-40B4-BE49-F238E27FC236}">
                <a16:creationId xmlns:a16="http://schemas.microsoft.com/office/drawing/2014/main" id="{19726966-632F-1E80-EC8A-95289D47A68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3429000"/>
            <a:ext cx="2437200" cy="3429000"/>
          </a:xfrm>
          <a:prstGeom prst="rect">
            <a:avLst/>
          </a:prstGeom>
          <a:solidFill>
            <a:srgbClr val="BAB5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8" name="Bildplatzhalter 2">
            <a:extLst>
              <a:ext uri="{FF2B5EF4-FFF2-40B4-BE49-F238E27FC236}">
                <a16:creationId xmlns:a16="http://schemas.microsoft.com/office/drawing/2014/main" id="{A6DBF5A6-120A-69C9-7886-67114B367DA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754488" y="0"/>
            <a:ext cx="2437200" cy="3429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6" name="Bildplatzhalter 2">
            <a:extLst>
              <a:ext uri="{FF2B5EF4-FFF2-40B4-BE49-F238E27FC236}">
                <a16:creationId xmlns:a16="http://schemas.microsoft.com/office/drawing/2014/main" id="{13AF8C8A-EA83-CD9D-0FF2-3400C7FCAD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308023" y="0"/>
            <a:ext cx="2450431" cy="3429000"/>
          </a:xfrm>
          <a:prstGeom prst="rect">
            <a:avLst/>
          </a:prstGeom>
          <a:solidFill>
            <a:srgbClr val="BAB5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5" name="Bildplatzhalter 2">
            <a:extLst>
              <a:ext uri="{FF2B5EF4-FFF2-40B4-BE49-F238E27FC236}">
                <a16:creationId xmlns:a16="http://schemas.microsoft.com/office/drawing/2014/main" id="{402FBF03-E6F2-CC26-4A3B-409DE8C088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870823" y="0"/>
            <a:ext cx="2437200" cy="3429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4" name="Bildplatzhalter 2">
            <a:extLst>
              <a:ext uri="{FF2B5EF4-FFF2-40B4-BE49-F238E27FC236}">
                <a16:creationId xmlns:a16="http://schemas.microsoft.com/office/drawing/2014/main" id="{06D27829-30CA-9DA2-FFDB-4303C9481BB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437589" y="0"/>
            <a:ext cx="2437200" cy="3429000"/>
          </a:xfrm>
          <a:prstGeom prst="rect">
            <a:avLst/>
          </a:prstGeom>
          <a:solidFill>
            <a:srgbClr val="BAB5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7FF02EA-02D7-817F-D7DB-E2765D38CD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2437200" cy="3429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F1D1FA6F-A704-6BE7-A0AD-FE4252E96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41599879-B502-5A1F-D791-4F7EAC9579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00816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ihandform 29">
            <a:extLst>
              <a:ext uri="{FF2B5EF4-FFF2-40B4-BE49-F238E27FC236}">
                <a16:creationId xmlns:a16="http://schemas.microsoft.com/office/drawing/2014/main" id="{520BB039-90FF-4060-1F9D-A298F017618A}"/>
              </a:ext>
            </a:extLst>
          </p:cNvPr>
          <p:cNvSpPr/>
          <p:nvPr userDrawn="1"/>
        </p:nvSpPr>
        <p:spPr>
          <a:xfrm>
            <a:off x="4431622" y="123032"/>
            <a:ext cx="7760379" cy="6734969"/>
          </a:xfrm>
          <a:custGeom>
            <a:avLst/>
            <a:gdLst>
              <a:gd name="connsiteX0" fmla="*/ 4042239 w 7760379"/>
              <a:gd name="connsiteY0" fmla="*/ 0 h 6734969"/>
              <a:gd name="connsiteX1" fmla="*/ 7596602 w 7760379"/>
              <a:gd name="connsiteY1" fmla="*/ 2115468 h 6734969"/>
              <a:gd name="connsiteX2" fmla="*/ 7760379 w 7760379"/>
              <a:gd name="connsiteY2" fmla="*/ 2455449 h 6734969"/>
              <a:gd name="connsiteX3" fmla="*/ 7760379 w 7760379"/>
              <a:gd name="connsiteY3" fmla="*/ 5629029 h 6734969"/>
              <a:gd name="connsiteX4" fmla="*/ 7596602 w 7760379"/>
              <a:gd name="connsiteY4" fmla="*/ 5969010 h 6734969"/>
              <a:gd name="connsiteX5" fmla="*/ 7161427 w 7760379"/>
              <a:gd name="connsiteY5" fmla="*/ 6613479 h 6734969"/>
              <a:gd name="connsiteX6" fmla="*/ 7051009 w 7760379"/>
              <a:gd name="connsiteY6" fmla="*/ 6734969 h 6734969"/>
              <a:gd name="connsiteX7" fmla="*/ 1033469 w 7760379"/>
              <a:gd name="connsiteY7" fmla="*/ 6734969 h 6734969"/>
              <a:gd name="connsiteX8" fmla="*/ 923051 w 7760379"/>
              <a:gd name="connsiteY8" fmla="*/ 6613479 h 6734969"/>
              <a:gd name="connsiteX9" fmla="*/ 0 w 7760379"/>
              <a:gd name="connsiteY9" fmla="*/ 4042239 h 6734969"/>
              <a:gd name="connsiteX10" fmla="*/ 4042239 w 7760379"/>
              <a:gd name="connsiteY10" fmla="*/ 0 h 6734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60379" h="6734969">
                <a:moveTo>
                  <a:pt x="4042239" y="0"/>
                </a:moveTo>
                <a:cubicBezTo>
                  <a:pt x="5577060" y="0"/>
                  <a:pt x="6912092" y="855400"/>
                  <a:pt x="7596602" y="2115468"/>
                </a:cubicBezTo>
                <a:lnTo>
                  <a:pt x="7760379" y="2455449"/>
                </a:lnTo>
                <a:lnTo>
                  <a:pt x="7760379" y="5629029"/>
                </a:lnTo>
                <a:lnTo>
                  <a:pt x="7596602" y="5969010"/>
                </a:lnTo>
                <a:cubicBezTo>
                  <a:pt x="7472145" y="6198114"/>
                  <a:pt x="7326184" y="6413839"/>
                  <a:pt x="7161427" y="6613479"/>
                </a:cubicBezTo>
                <a:lnTo>
                  <a:pt x="7051009" y="6734969"/>
                </a:lnTo>
                <a:lnTo>
                  <a:pt x="1033469" y="6734969"/>
                </a:lnTo>
                <a:lnTo>
                  <a:pt x="923051" y="6613479"/>
                </a:lnTo>
                <a:cubicBezTo>
                  <a:pt x="346402" y="5914741"/>
                  <a:pt x="0" y="5018944"/>
                  <a:pt x="0" y="4042239"/>
                </a:cubicBezTo>
                <a:cubicBezTo>
                  <a:pt x="0" y="1809772"/>
                  <a:pt x="1809772" y="0"/>
                  <a:pt x="4042239" y="0"/>
                </a:cubicBezTo>
                <a:close/>
              </a:path>
            </a:pathLst>
          </a:custGeom>
          <a:solidFill>
            <a:srgbClr val="FDC75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8" name="Freihandform 27">
            <a:extLst>
              <a:ext uri="{FF2B5EF4-FFF2-40B4-BE49-F238E27FC236}">
                <a16:creationId xmlns:a16="http://schemas.microsoft.com/office/drawing/2014/main" id="{6DDE8087-9E8D-D878-5EAD-3120E18943E7}"/>
              </a:ext>
            </a:extLst>
          </p:cNvPr>
          <p:cNvSpPr/>
          <p:nvPr userDrawn="1"/>
        </p:nvSpPr>
        <p:spPr>
          <a:xfrm>
            <a:off x="4372246" y="0"/>
            <a:ext cx="7819755" cy="6858000"/>
          </a:xfrm>
          <a:custGeom>
            <a:avLst/>
            <a:gdLst>
              <a:gd name="connsiteX0" fmla="*/ 3190303 w 7819755"/>
              <a:gd name="connsiteY0" fmla="*/ 0 h 6858000"/>
              <a:gd name="connsiteX1" fmla="*/ 4894175 w 7819755"/>
              <a:gd name="connsiteY1" fmla="*/ 0 h 6858000"/>
              <a:gd name="connsiteX2" fmla="*/ 5052458 w 7819755"/>
              <a:gd name="connsiteY2" fmla="*/ 36531 h 6858000"/>
              <a:gd name="connsiteX3" fmla="*/ 7766819 w 7819755"/>
              <a:gd name="connsiteY3" fmla="*/ 2378088 h 6858000"/>
              <a:gd name="connsiteX4" fmla="*/ 7819755 w 7819755"/>
              <a:gd name="connsiteY4" fmla="*/ 2522721 h 6858000"/>
              <a:gd name="connsiteX5" fmla="*/ 7819755 w 7819755"/>
              <a:gd name="connsiteY5" fmla="*/ 5380299 h 6858000"/>
              <a:gd name="connsiteX6" fmla="*/ 7766819 w 7819755"/>
              <a:gd name="connsiteY6" fmla="*/ 5524932 h 6858000"/>
              <a:gd name="connsiteX7" fmla="*/ 6900534 w 7819755"/>
              <a:gd name="connsiteY7" fmla="*/ 6809805 h 6858000"/>
              <a:gd name="connsiteX8" fmla="*/ 6847505 w 7819755"/>
              <a:gd name="connsiteY8" fmla="*/ 6858000 h 6858000"/>
              <a:gd name="connsiteX9" fmla="*/ 1236973 w 7819755"/>
              <a:gd name="connsiteY9" fmla="*/ 6858000 h 6858000"/>
              <a:gd name="connsiteX10" fmla="*/ 1183945 w 7819755"/>
              <a:gd name="connsiteY10" fmla="*/ 6809805 h 6858000"/>
              <a:gd name="connsiteX11" fmla="*/ 0 w 7819755"/>
              <a:gd name="connsiteY11" fmla="*/ 3951510 h 6858000"/>
              <a:gd name="connsiteX12" fmla="*/ 3032021 w 7819755"/>
              <a:gd name="connsiteY12" fmla="*/ 3653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819755" h="6858000">
                <a:moveTo>
                  <a:pt x="3190303" y="0"/>
                </a:moveTo>
                <a:lnTo>
                  <a:pt x="4894175" y="0"/>
                </a:lnTo>
                <a:lnTo>
                  <a:pt x="5052458" y="36531"/>
                </a:lnTo>
                <a:cubicBezTo>
                  <a:pt x="6279448" y="352222"/>
                  <a:pt x="7281016" y="1229522"/>
                  <a:pt x="7766819" y="2378088"/>
                </a:cubicBezTo>
                <a:lnTo>
                  <a:pt x="7819755" y="2522721"/>
                </a:lnTo>
                <a:lnTo>
                  <a:pt x="7819755" y="5380299"/>
                </a:lnTo>
                <a:lnTo>
                  <a:pt x="7766819" y="5524932"/>
                </a:lnTo>
                <a:cubicBezTo>
                  <a:pt x="7562270" y="6008539"/>
                  <a:pt x="7266284" y="6444054"/>
                  <a:pt x="6900534" y="6809805"/>
                </a:cubicBezTo>
                <a:lnTo>
                  <a:pt x="6847505" y="6858000"/>
                </a:lnTo>
                <a:lnTo>
                  <a:pt x="1236973" y="6858000"/>
                </a:lnTo>
                <a:lnTo>
                  <a:pt x="1183945" y="6809805"/>
                </a:lnTo>
                <a:cubicBezTo>
                  <a:pt x="452443" y="6078303"/>
                  <a:pt x="0" y="5067744"/>
                  <a:pt x="0" y="3951510"/>
                </a:cubicBezTo>
                <a:cubicBezTo>
                  <a:pt x="0" y="2067866"/>
                  <a:pt x="1288402" y="485145"/>
                  <a:pt x="3032021" y="36531"/>
                </a:cubicBezTo>
                <a:close/>
              </a:path>
            </a:pathLst>
          </a:custGeom>
          <a:solidFill>
            <a:srgbClr val="F1919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Bildplatzhalter 2">
            <a:extLst>
              <a:ext uri="{FF2B5EF4-FFF2-40B4-BE49-F238E27FC236}">
                <a16:creationId xmlns:a16="http://schemas.microsoft.com/office/drawing/2014/main" id="{19726966-632F-1E80-EC8A-95289D47A688}"/>
              </a:ext>
            </a:extLst>
          </p:cNvPr>
          <p:cNvSpPr>
            <a:spLocks noGrp="1"/>
          </p:cNvSpPr>
          <p:nvPr userDrawn="1">
            <p:ph type="pic" sz="quarter" idx="23"/>
          </p:nvPr>
        </p:nvSpPr>
        <p:spPr>
          <a:xfrm>
            <a:off x="0" y="3429000"/>
            <a:ext cx="2437200" cy="3429000"/>
          </a:xfrm>
          <a:prstGeom prst="rect">
            <a:avLst/>
          </a:prstGeom>
          <a:solidFill>
            <a:srgbClr val="BAB5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9" name="Bildplatzhalter 2">
            <a:extLst>
              <a:ext uri="{FF2B5EF4-FFF2-40B4-BE49-F238E27FC236}">
                <a16:creationId xmlns:a16="http://schemas.microsoft.com/office/drawing/2014/main" id="{1D805D10-FDBC-55D8-2559-CA98584D0097}"/>
              </a:ext>
            </a:extLst>
          </p:cNvPr>
          <p:cNvSpPr>
            <a:spLocks noGrp="1"/>
          </p:cNvSpPr>
          <p:nvPr userDrawn="1">
            <p:ph type="pic" sz="quarter" idx="24"/>
          </p:nvPr>
        </p:nvSpPr>
        <p:spPr>
          <a:xfrm>
            <a:off x="2437589" y="3429000"/>
            <a:ext cx="2437200" cy="3429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665D95AC-FA55-34DC-CED8-7093779C1FE4}"/>
              </a:ext>
            </a:extLst>
          </p:cNvPr>
          <p:cNvSpPr>
            <a:spLocks noGrp="1"/>
          </p:cNvSpPr>
          <p:nvPr userDrawn="1">
            <p:ph type="pic" sz="quarter" idx="25"/>
          </p:nvPr>
        </p:nvSpPr>
        <p:spPr>
          <a:xfrm>
            <a:off x="4870823" y="3429000"/>
            <a:ext cx="2437200" cy="3429000"/>
          </a:xfrm>
          <a:prstGeom prst="rect">
            <a:avLst/>
          </a:prstGeom>
          <a:solidFill>
            <a:srgbClr val="BAB5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369F74CB-C2BB-690B-10F7-35BA9AFA9016}"/>
              </a:ext>
            </a:extLst>
          </p:cNvPr>
          <p:cNvSpPr>
            <a:spLocks noGrp="1"/>
          </p:cNvSpPr>
          <p:nvPr userDrawn="1">
            <p:ph type="pic" sz="quarter" idx="26"/>
          </p:nvPr>
        </p:nvSpPr>
        <p:spPr>
          <a:xfrm>
            <a:off x="7308023" y="3429000"/>
            <a:ext cx="2450431" cy="3429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D739E1B2-C317-F92E-9F66-10974F7BD1FC}"/>
              </a:ext>
            </a:extLst>
          </p:cNvPr>
          <p:cNvSpPr>
            <a:spLocks noGrp="1"/>
          </p:cNvSpPr>
          <p:nvPr userDrawn="1">
            <p:ph type="pic" sz="quarter" idx="27"/>
          </p:nvPr>
        </p:nvSpPr>
        <p:spPr>
          <a:xfrm>
            <a:off x="9754488" y="3429000"/>
            <a:ext cx="2437200" cy="3429000"/>
          </a:xfrm>
          <a:custGeom>
            <a:avLst/>
            <a:gdLst>
              <a:gd name="connsiteX0" fmla="*/ 0 w 2437200"/>
              <a:gd name="connsiteY0" fmla="*/ 0 h 3429000"/>
              <a:gd name="connsiteX1" fmla="*/ 2437200 w 2437200"/>
              <a:gd name="connsiteY1" fmla="*/ 0 h 3429000"/>
              <a:gd name="connsiteX2" fmla="*/ 2437200 w 2437200"/>
              <a:gd name="connsiteY2" fmla="*/ 1336666 h 3429000"/>
              <a:gd name="connsiteX3" fmla="*/ 2419202 w 2437200"/>
              <a:gd name="connsiteY3" fmla="*/ 1389858 h 3429000"/>
              <a:gd name="connsiteX4" fmla="*/ 882299 w 2437200"/>
              <a:gd name="connsiteY4" fmla="*/ 3351888 h 3429000"/>
              <a:gd name="connsiteX5" fmla="*/ 762016 w 2437200"/>
              <a:gd name="connsiteY5" fmla="*/ 3429000 h 3429000"/>
              <a:gd name="connsiteX6" fmla="*/ 0 w 2437200"/>
              <a:gd name="connsiteY6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37200" h="3429000">
                <a:moveTo>
                  <a:pt x="0" y="0"/>
                </a:moveTo>
                <a:lnTo>
                  <a:pt x="2437200" y="0"/>
                </a:lnTo>
                <a:lnTo>
                  <a:pt x="2437200" y="1336666"/>
                </a:lnTo>
                <a:lnTo>
                  <a:pt x="2419202" y="1389858"/>
                </a:lnTo>
                <a:cubicBezTo>
                  <a:pt x="2124508" y="2194706"/>
                  <a:pt x="1581207" y="2879716"/>
                  <a:pt x="882299" y="3351888"/>
                </a:cubicBezTo>
                <a:lnTo>
                  <a:pt x="762016" y="3429000"/>
                </a:lnTo>
                <a:lnTo>
                  <a:pt x="0" y="3429000"/>
                </a:lnTo>
                <a:close/>
              </a:path>
            </a:pathLst>
          </a:custGeom>
          <a:solidFill>
            <a:srgbClr val="BAB5B3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7FF02EA-02D7-817F-D7DB-E2765D38CD9C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0" y="0"/>
            <a:ext cx="2437200" cy="3429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4" name="Bildplatzhalter 2">
            <a:extLst>
              <a:ext uri="{FF2B5EF4-FFF2-40B4-BE49-F238E27FC236}">
                <a16:creationId xmlns:a16="http://schemas.microsoft.com/office/drawing/2014/main" id="{06D27829-30CA-9DA2-FFDB-4303C9481BBD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2437589" y="0"/>
            <a:ext cx="2437200" cy="3429000"/>
          </a:xfrm>
          <a:prstGeom prst="rect">
            <a:avLst/>
          </a:prstGeom>
          <a:solidFill>
            <a:srgbClr val="BAB5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5" name="Bildplatzhalter 2">
            <a:extLst>
              <a:ext uri="{FF2B5EF4-FFF2-40B4-BE49-F238E27FC236}">
                <a16:creationId xmlns:a16="http://schemas.microsoft.com/office/drawing/2014/main" id="{402FBF03-E6F2-CC26-4A3B-409DE8C08876}"/>
              </a:ext>
            </a:extLst>
          </p:cNvPr>
          <p:cNvSpPr>
            <a:spLocks noGrp="1"/>
          </p:cNvSpPr>
          <p:nvPr userDrawn="1">
            <p:ph type="pic" sz="quarter" idx="20"/>
          </p:nvPr>
        </p:nvSpPr>
        <p:spPr>
          <a:xfrm>
            <a:off x="4870823" y="0"/>
            <a:ext cx="2437200" cy="3429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6" name="Bildplatzhalter 2">
            <a:extLst>
              <a:ext uri="{FF2B5EF4-FFF2-40B4-BE49-F238E27FC236}">
                <a16:creationId xmlns:a16="http://schemas.microsoft.com/office/drawing/2014/main" id="{13AF8C8A-EA83-CD9D-0FF2-3400C7FCAD25}"/>
              </a:ext>
            </a:extLst>
          </p:cNvPr>
          <p:cNvSpPr>
            <a:spLocks noGrp="1"/>
          </p:cNvSpPr>
          <p:nvPr userDrawn="1">
            <p:ph type="pic" sz="quarter" idx="21"/>
          </p:nvPr>
        </p:nvSpPr>
        <p:spPr>
          <a:xfrm>
            <a:off x="7308023" y="0"/>
            <a:ext cx="2450431" cy="3429000"/>
          </a:xfrm>
          <a:prstGeom prst="rect">
            <a:avLst/>
          </a:prstGeom>
          <a:solidFill>
            <a:srgbClr val="BAB5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8" name="Bildplatzhalter 2">
            <a:extLst>
              <a:ext uri="{FF2B5EF4-FFF2-40B4-BE49-F238E27FC236}">
                <a16:creationId xmlns:a16="http://schemas.microsoft.com/office/drawing/2014/main" id="{A6DBF5A6-120A-69C9-7886-67114B367DA7}"/>
              </a:ext>
            </a:extLst>
          </p:cNvPr>
          <p:cNvSpPr>
            <a:spLocks noGrp="1"/>
          </p:cNvSpPr>
          <p:nvPr userDrawn="1">
            <p:ph type="pic" sz="quarter" idx="22"/>
          </p:nvPr>
        </p:nvSpPr>
        <p:spPr>
          <a:xfrm>
            <a:off x="9754488" y="0"/>
            <a:ext cx="2437200" cy="3429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904E037E-0F92-777D-0053-739783D68C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 userDrawn="1">
            <p:ph type="ftr" sz="quarter" idx="29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0BD7C230-FB12-9677-27CB-6FAC9F892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 userDrawn="1">
            <p:ph type="sldNum" sz="quarter" idx="30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887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90D065C8-20A7-7E1D-3E85-5BCCFC306B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84050" y="-3623"/>
            <a:ext cx="2437200" cy="3429000"/>
          </a:xfrm>
          <a:solidFill>
            <a:schemeClr val="bg1"/>
          </a:solidFill>
        </p:spPr>
        <p:txBody>
          <a:bodyPr lIns="252000" tIns="252000" rIns="252000" b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D73508FD-FA21-928F-2947-7767469F85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321250" y="3432623"/>
            <a:ext cx="4870749" cy="3421753"/>
          </a:xfrm>
          <a:solidFill>
            <a:schemeClr val="bg1"/>
          </a:solidFill>
        </p:spPr>
        <p:txBody>
          <a:bodyPr lIns="252000" tIns="252000" rIns="252000" b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727EC90D-DFDC-BA65-77C6-4141BC848DD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884053" y="3429000"/>
            <a:ext cx="2437200" cy="3429000"/>
          </a:xfrm>
          <a:prstGeom prst="rect">
            <a:avLst/>
          </a:prstGeom>
          <a:solidFill>
            <a:srgbClr val="BAB5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0C15AC44-CF18-8D46-137A-7A6B15B27F2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768106" y="0"/>
            <a:ext cx="2437200" cy="3429000"/>
          </a:xfrm>
          <a:prstGeom prst="rect">
            <a:avLst/>
          </a:prstGeom>
          <a:solidFill>
            <a:srgbClr val="BAB5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14" name="Bildplatzhalter 2">
            <a:extLst>
              <a:ext uri="{FF2B5EF4-FFF2-40B4-BE49-F238E27FC236}">
                <a16:creationId xmlns:a16="http://schemas.microsoft.com/office/drawing/2014/main" id="{CD451192-2372-4C29-ED1E-C7C40D0F243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321254" y="0"/>
            <a:ext cx="2446852" cy="3429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7" name="Bildplatzhalter 2">
            <a:extLst>
              <a:ext uri="{FF2B5EF4-FFF2-40B4-BE49-F238E27FC236}">
                <a16:creationId xmlns:a16="http://schemas.microsoft.com/office/drawing/2014/main" id="{9BAE65FE-FB86-726D-A792-8DE75B8B0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884050" cy="6858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CA2C645-7F82-91CF-7A0D-26A642BB5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33EC79A-8389-8A1F-D5A5-E284632B16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60952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arbeiter/Zita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24">
            <a:extLst>
              <a:ext uri="{FF2B5EF4-FFF2-40B4-BE49-F238E27FC236}">
                <a16:creationId xmlns:a16="http://schemas.microsoft.com/office/drawing/2014/main" id="{57788259-162E-8F8A-F913-771088CBE6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117661" y="1735993"/>
            <a:ext cx="2294885" cy="2294885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7EE582E-3338-51DB-6A6D-4F7C202E28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120304" y="1785238"/>
            <a:ext cx="2223279" cy="2223279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10D9367-4CD4-E717-E12C-9005D7479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5C1571-D5E1-F9ED-A673-0470826EA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E466CF1A-F950-3EEA-725D-E4F519AC30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8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rgbClr val="009BA4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FBB426D6-4597-076C-8825-3AC0A14C0020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66763" y="4259422"/>
            <a:ext cx="3097212" cy="186935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3D933D8C-585E-8743-D8C9-944360CCA66F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120304" y="1831634"/>
            <a:ext cx="2160000" cy="2160000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27" name="Textplatzhalter 24">
            <a:extLst>
              <a:ext uri="{FF2B5EF4-FFF2-40B4-BE49-F238E27FC236}">
                <a16:creationId xmlns:a16="http://schemas.microsoft.com/office/drawing/2014/main" id="{ED710482-69D2-502F-AB73-4680B6314A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906146" y="1733071"/>
            <a:ext cx="2294885" cy="2294885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8" name="Textplatzhalter 24">
            <a:extLst>
              <a:ext uri="{FF2B5EF4-FFF2-40B4-BE49-F238E27FC236}">
                <a16:creationId xmlns:a16="http://schemas.microsoft.com/office/drawing/2014/main" id="{EC55DCAF-049C-5A11-1DC4-DE4F11F249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908789" y="1782316"/>
            <a:ext cx="2223279" cy="2223279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EE4DA2B3-4CDE-1D0D-FF2A-3E1F07FFA0B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548188" y="4259421"/>
            <a:ext cx="3097212" cy="187364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9" name="Bildplatzhalter 22">
            <a:extLst>
              <a:ext uri="{FF2B5EF4-FFF2-40B4-BE49-F238E27FC236}">
                <a16:creationId xmlns:a16="http://schemas.microsoft.com/office/drawing/2014/main" id="{7393697F-9EAE-F3DC-A1B4-A4FD2694F63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8789" y="1828712"/>
            <a:ext cx="2160000" cy="2160000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0" name="Textplatzhalter 24">
            <a:extLst>
              <a:ext uri="{FF2B5EF4-FFF2-40B4-BE49-F238E27FC236}">
                <a16:creationId xmlns:a16="http://schemas.microsoft.com/office/drawing/2014/main" id="{0452A74A-685C-A3F7-FD92-7896D4D8A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696424" y="1735993"/>
            <a:ext cx="2294885" cy="2294885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31" name="Textplatzhalter 24">
            <a:extLst>
              <a:ext uri="{FF2B5EF4-FFF2-40B4-BE49-F238E27FC236}">
                <a16:creationId xmlns:a16="http://schemas.microsoft.com/office/drawing/2014/main" id="{C6AF4392-109D-48A6-8DF6-BE955512E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699067" y="1785238"/>
            <a:ext cx="2223279" cy="2223279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C52F3F68-E8ED-32F4-951D-460FD62692E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328025" y="4255694"/>
            <a:ext cx="3097212" cy="187364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2" name="Bildplatzhalter 22">
            <a:extLst>
              <a:ext uri="{FF2B5EF4-FFF2-40B4-BE49-F238E27FC236}">
                <a16:creationId xmlns:a16="http://schemas.microsoft.com/office/drawing/2014/main" id="{BC6665C5-A5FF-F49A-7468-5EF215B7222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8699067" y="1831634"/>
            <a:ext cx="2160000" cy="2160000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7294B7D-976F-E7F3-84CF-1395848187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699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4" userDrawn="1">
          <p15:clr>
            <a:srgbClr val="000000"/>
          </p15:clr>
        </p15:guide>
        <p15:guide id="2" pos="2865" userDrawn="1">
          <p15:clr>
            <a:srgbClr val="000000"/>
          </p15:clr>
        </p15:guide>
        <p15:guide id="3" pos="4815" userDrawn="1">
          <p15:clr>
            <a:srgbClr val="000000"/>
          </p15:clr>
        </p15:guide>
        <p15:guide id="4" pos="5246" userDrawn="1">
          <p15:clr>
            <a:srgbClr val="000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arbeiter/Zitat 1 negativ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10D9367-4CD4-E717-E12C-9005D7479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5C1571-D5E1-F9ED-A673-0470826EA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E466CF1A-F950-3EEA-725D-E4F519AC30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8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2" name="Textplatzhalter 24">
            <a:extLst>
              <a:ext uri="{FF2B5EF4-FFF2-40B4-BE49-F238E27FC236}">
                <a16:creationId xmlns:a16="http://schemas.microsoft.com/office/drawing/2014/main" id="{77E46263-09B9-CA9C-62E0-FD1B7574CE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117661" y="1735993"/>
            <a:ext cx="2294885" cy="2294885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5" name="Textplatzhalter 24">
            <a:extLst>
              <a:ext uri="{FF2B5EF4-FFF2-40B4-BE49-F238E27FC236}">
                <a16:creationId xmlns:a16="http://schemas.microsoft.com/office/drawing/2014/main" id="{C470F8C6-ED0B-9EBD-0FFC-A92D6DCD6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120304" y="1785238"/>
            <a:ext cx="2223279" cy="2223279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55855D7F-DC4D-7FCC-4887-1896DA4ABB1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66763" y="4259422"/>
            <a:ext cx="3097212" cy="18693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Bildplatzhalter 22">
            <a:extLst>
              <a:ext uri="{FF2B5EF4-FFF2-40B4-BE49-F238E27FC236}">
                <a16:creationId xmlns:a16="http://schemas.microsoft.com/office/drawing/2014/main" id="{CD325B93-733C-2883-268E-C2F90B9C382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120304" y="1831634"/>
            <a:ext cx="2160000" cy="2160000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9" name="Textplatzhalter 24">
            <a:extLst>
              <a:ext uri="{FF2B5EF4-FFF2-40B4-BE49-F238E27FC236}">
                <a16:creationId xmlns:a16="http://schemas.microsoft.com/office/drawing/2014/main" id="{89870C41-D54C-8711-16EF-4868572C2F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906146" y="1733071"/>
            <a:ext cx="2294885" cy="2294885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0" name="Textplatzhalter 24">
            <a:extLst>
              <a:ext uri="{FF2B5EF4-FFF2-40B4-BE49-F238E27FC236}">
                <a16:creationId xmlns:a16="http://schemas.microsoft.com/office/drawing/2014/main" id="{A43FEEB7-C72A-92B3-932F-C92B33C9D3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908789" y="1782316"/>
            <a:ext cx="2223279" cy="2223279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46B4AE89-3429-00F6-3378-36DAFA28BC70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548188" y="4259421"/>
            <a:ext cx="3097212" cy="18736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Bildplatzhalter 22">
            <a:extLst>
              <a:ext uri="{FF2B5EF4-FFF2-40B4-BE49-F238E27FC236}">
                <a16:creationId xmlns:a16="http://schemas.microsoft.com/office/drawing/2014/main" id="{41C57521-8638-DEF6-8E60-4818E5DC0F4D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8789" y="1828712"/>
            <a:ext cx="2160000" cy="2160000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164FE922-197D-C7A9-C656-131DC79998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696424" y="1735993"/>
            <a:ext cx="2294885" cy="2294885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24">
            <a:extLst>
              <a:ext uri="{FF2B5EF4-FFF2-40B4-BE49-F238E27FC236}">
                <a16:creationId xmlns:a16="http://schemas.microsoft.com/office/drawing/2014/main" id="{A9111D0E-594E-68B8-2989-17036627DD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699067" y="1785238"/>
            <a:ext cx="2223279" cy="2223279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5C71FC20-BE52-46F0-C3B0-9F047145685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328025" y="4255694"/>
            <a:ext cx="3097212" cy="18736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Bildplatzhalter 22">
            <a:extLst>
              <a:ext uri="{FF2B5EF4-FFF2-40B4-BE49-F238E27FC236}">
                <a16:creationId xmlns:a16="http://schemas.microsoft.com/office/drawing/2014/main" id="{FCB7558A-E36B-E0A4-24CB-45AA0BAAB86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8699067" y="1831634"/>
            <a:ext cx="2160000" cy="2160000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D4098FA9-7CB7-AAF3-5689-B2BCA89BEF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2" y="548680"/>
            <a:ext cx="1149995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117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4" userDrawn="1">
          <p15:clr>
            <a:srgbClr val="000000"/>
          </p15:clr>
        </p15:guide>
        <p15:guide id="2" pos="2865" userDrawn="1">
          <p15:clr>
            <a:srgbClr val="000000"/>
          </p15:clr>
        </p15:guide>
        <p15:guide id="3" pos="4815" userDrawn="1">
          <p15:clr>
            <a:srgbClr val="000000"/>
          </p15:clr>
        </p15:guide>
        <p15:guide id="4" pos="524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bg>
      <p:bgPr>
        <a:solidFill>
          <a:srgbClr val="52BB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8">
            <a:extLst>
              <a:ext uri="{FF2B5EF4-FFF2-40B4-BE49-F238E27FC236}">
                <a16:creationId xmlns:a16="http://schemas.microsoft.com/office/drawing/2014/main" id="{0C7D3759-A0DE-E830-144E-4A1647787C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976184" cy="917835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Agenda</a:t>
            </a:r>
          </a:p>
        </p:txBody>
      </p:sp>
      <p:sp>
        <p:nvSpPr>
          <p:cNvPr id="10" name="Textplatzhalter 49">
            <a:extLst>
              <a:ext uri="{FF2B5EF4-FFF2-40B4-BE49-F238E27FC236}">
                <a16:creationId xmlns:a16="http://schemas.microsoft.com/office/drawing/2014/main" id="{A2D8B3F9-AC7E-54AE-707C-75523B0B8E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7045" y="1989135"/>
            <a:ext cx="830481" cy="1234224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96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498CD4AD-25B6-5D78-7B97-2088B65E426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729410" y="1989135"/>
            <a:ext cx="4269753" cy="1235075"/>
          </a:xfrm>
        </p:spPr>
        <p:txBody>
          <a:bodyPr anchor="ctr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Ich bin ei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12" name="Textplatzhalter 49">
            <a:extLst>
              <a:ext uri="{FF2B5EF4-FFF2-40B4-BE49-F238E27FC236}">
                <a16:creationId xmlns:a16="http://schemas.microsoft.com/office/drawing/2014/main" id="{521E58F9-8D62-5FD5-3C10-7E144C391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63" y="3429000"/>
            <a:ext cx="830481" cy="12342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96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8" name="Textplatzhalter 25">
            <a:extLst>
              <a:ext uri="{FF2B5EF4-FFF2-40B4-BE49-F238E27FC236}">
                <a16:creationId xmlns:a16="http://schemas.microsoft.com/office/drawing/2014/main" id="{157A762B-A711-7917-3EEE-87E1551F14B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729410" y="3429000"/>
            <a:ext cx="4269753" cy="1235075"/>
          </a:xfrm>
        </p:spPr>
        <p:txBody>
          <a:bodyPr anchor="ctr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Ich bin ei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14" name="Textplatzhalter 49">
            <a:extLst>
              <a:ext uri="{FF2B5EF4-FFF2-40B4-BE49-F238E27FC236}">
                <a16:creationId xmlns:a16="http://schemas.microsoft.com/office/drawing/2014/main" id="{9B2B9340-E4A7-6C87-6406-CCFA868A23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7045" y="4868864"/>
            <a:ext cx="830481" cy="1249833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96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30" name="Textplatzhalter 25">
            <a:extLst>
              <a:ext uri="{FF2B5EF4-FFF2-40B4-BE49-F238E27FC236}">
                <a16:creationId xmlns:a16="http://schemas.microsoft.com/office/drawing/2014/main" id="{86DAAE12-E729-D329-786D-0BC1EA0E548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729410" y="4867168"/>
            <a:ext cx="4269753" cy="1251530"/>
          </a:xfrm>
        </p:spPr>
        <p:txBody>
          <a:bodyPr anchor="ctr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Ich bin ei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16" name="Textplatzhalter 49">
            <a:extLst>
              <a:ext uri="{FF2B5EF4-FFF2-40B4-BE49-F238E27FC236}">
                <a16:creationId xmlns:a16="http://schemas.microsoft.com/office/drawing/2014/main" id="{917A9C78-6004-0E12-1CEC-54FBAE7778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98135" y="1989135"/>
            <a:ext cx="830481" cy="12342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96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36" name="Textplatzhalter 25">
            <a:extLst>
              <a:ext uri="{FF2B5EF4-FFF2-40B4-BE49-F238E27FC236}">
                <a16:creationId xmlns:a16="http://schemas.microsoft.com/office/drawing/2014/main" id="{FC1A299A-D240-CD0C-806C-22BA1C83A4D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155485" y="1989135"/>
            <a:ext cx="4269753" cy="1235075"/>
          </a:xfrm>
        </p:spPr>
        <p:txBody>
          <a:bodyPr anchor="ctr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Ich bin ei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18" name="Textplatzhalter 49">
            <a:extLst>
              <a:ext uri="{FF2B5EF4-FFF2-40B4-BE49-F238E27FC236}">
                <a16:creationId xmlns:a16="http://schemas.microsoft.com/office/drawing/2014/main" id="{4A006A84-C878-FCAB-999C-45C8B88EF7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93019" y="3429000"/>
            <a:ext cx="830481" cy="1234226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96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5</a:t>
            </a:r>
          </a:p>
        </p:txBody>
      </p:sp>
      <p:sp>
        <p:nvSpPr>
          <p:cNvPr id="32" name="Textplatzhalter 25">
            <a:extLst>
              <a:ext uri="{FF2B5EF4-FFF2-40B4-BE49-F238E27FC236}">
                <a16:creationId xmlns:a16="http://schemas.microsoft.com/office/drawing/2014/main" id="{90E5F184-F64A-B6D6-A159-86B48944B4C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45202" y="3428151"/>
            <a:ext cx="4269753" cy="1235075"/>
          </a:xfrm>
        </p:spPr>
        <p:txBody>
          <a:bodyPr anchor="ctr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Ich bin ei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0" name="Textplatzhalter 49">
            <a:extLst>
              <a:ext uri="{FF2B5EF4-FFF2-40B4-BE49-F238E27FC236}">
                <a16:creationId xmlns:a16="http://schemas.microsoft.com/office/drawing/2014/main" id="{154CACC9-FFF4-6629-D943-2BBB04650E4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98135" y="4868864"/>
            <a:ext cx="830481" cy="1249833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96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6</a:t>
            </a:r>
          </a:p>
        </p:txBody>
      </p:sp>
      <p:sp>
        <p:nvSpPr>
          <p:cNvPr id="33" name="Textplatzhalter 25">
            <a:extLst>
              <a:ext uri="{FF2B5EF4-FFF2-40B4-BE49-F238E27FC236}">
                <a16:creationId xmlns:a16="http://schemas.microsoft.com/office/drawing/2014/main" id="{74705AE8-748B-A730-56B6-6962C2BCF44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145202" y="4867168"/>
            <a:ext cx="4269753" cy="1251530"/>
          </a:xfrm>
        </p:spPr>
        <p:txBody>
          <a:bodyPr anchor="ctr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Ich bin ein </a:t>
            </a:r>
            <a:r>
              <a:rPr lang="de-DE" err="1"/>
              <a:t>Agendapunkt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9EB2C6B-8968-11B0-5636-8DE42B7EA3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00456" y="841873"/>
            <a:ext cx="1654803" cy="78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098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7469" userDrawn="1">
          <p15:clr>
            <a:srgbClr val="00000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arbeiter/Zita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10D9367-4CD4-E717-E12C-9005D7479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5C1571-D5E1-F9ED-A673-0470826EA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E466CF1A-F950-3EEA-725D-E4F519AC30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48000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4" name="Textplatzhalter 24">
            <a:extLst>
              <a:ext uri="{FF2B5EF4-FFF2-40B4-BE49-F238E27FC236}">
                <a16:creationId xmlns:a16="http://schemas.microsoft.com/office/drawing/2014/main" id="{031499E9-A3FE-0F4C-E2F4-D84D91474D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195318" y="3835661"/>
            <a:ext cx="2294885" cy="2294885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5" name="Textplatzhalter 24">
            <a:extLst>
              <a:ext uri="{FF2B5EF4-FFF2-40B4-BE49-F238E27FC236}">
                <a16:creationId xmlns:a16="http://schemas.microsoft.com/office/drawing/2014/main" id="{DFC0C4D0-E7A5-6273-306B-867197086F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2197961" y="3884906"/>
            <a:ext cx="2223279" cy="2223279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48296A49-CF23-5F3D-3D9A-41A029E2B6E6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387248" y="1990479"/>
            <a:ext cx="3781426" cy="16236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Bildplatzhalter 22">
            <a:extLst>
              <a:ext uri="{FF2B5EF4-FFF2-40B4-BE49-F238E27FC236}">
                <a16:creationId xmlns:a16="http://schemas.microsoft.com/office/drawing/2014/main" id="{3F535D26-F2B4-13DF-423B-57248BBD654B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97961" y="3931302"/>
            <a:ext cx="2160000" cy="2160000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0" name="Textplatzhalter 24">
            <a:extLst>
              <a:ext uri="{FF2B5EF4-FFF2-40B4-BE49-F238E27FC236}">
                <a16:creationId xmlns:a16="http://schemas.microsoft.com/office/drawing/2014/main" id="{07AC7F92-C281-C24F-DC51-62DC8A957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60180" y="1735993"/>
            <a:ext cx="2294885" cy="2294885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31" name="Textplatzhalter 24">
            <a:extLst>
              <a:ext uri="{FF2B5EF4-FFF2-40B4-BE49-F238E27FC236}">
                <a16:creationId xmlns:a16="http://schemas.microsoft.com/office/drawing/2014/main" id="{6469AA02-BD87-E8EF-1EA4-5B7B304403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362823" y="1785238"/>
            <a:ext cx="2223279" cy="2223279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82A7E91B-B30A-254B-5C47-8B5EDC840183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989857" y="4299760"/>
            <a:ext cx="3781426" cy="183078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32" name="Bildplatzhalter 22">
            <a:extLst>
              <a:ext uri="{FF2B5EF4-FFF2-40B4-BE49-F238E27FC236}">
                <a16:creationId xmlns:a16="http://schemas.microsoft.com/office/drawing/2014/main" id="{40C61CF2-94BD-5E70-D44A-A4C11410085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362823" y="1831634"/>
            <a:ext cx="2160000" cy="2160000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0546B5B-D6D8-DE52-AAE5-C70F4FA882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736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arbeiter/Zitat 2 negativ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10D9367-4CD4-E717-E12C-9005D7479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5C1571-D5E1-F9ED-A673-0470826EA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E466CF1A-F950-3EEA-725D-E4F519AC30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2" name="Textplatzhalter 14">
            <a:extLst>
              <a:ext uri="{FF2B5EF4-FFF2-40B4-BE49-F238E27FC236}">
                <a16:creationId xmlns:a16="http://schemas.microsoft.com/office/drawing/2014/main" id="{9745FC0E-422D-F3CB-B93D-2E98FB94E69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387248" y="1990479"/>
            <a:ext cx="3781426" cy="16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platzhalter 24">
            <a:extLst>
              <a:ext uri="{FF2B5EF4-FFF2-40B4-BE49-F238E27FC236}">
                <a16:creationId xmlns:a16="http://schemas.microsoft.com/office/drawing/2014/main" id="{A533912A-CFF3-CD03-233D-AFAA9FE55D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195318" y="3835661"/>
            <a:ext cx="2294885" cy="2294885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24">
            <a:extLst>
              <a:ext uri="{FF2B5EF4-FFF2-40B4-BE49-F238E27FC236}">
                <a16:creationId xmlns:a16="http://schemas.microsoft.com/office/drawing/2014/main" id="{EAA2C3DF-7332-A67B-0B87-CD2D1CFEBB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2197961" y="3884906"/>
            <a:ext cx="2223279" cy="2223279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8" name="Bildplatzhalter 22">
            <a:extLst>
              <a:ext uri="{FF2B5EF4-FFF2-40B4-BE49-F238E27FC236}">
                <a16:creationId xmlns:a16="http://schemas.microsoft.com/office/drawing/2014/main" id="{2784016D-AA21-1E51-95C1-35C0AB5CB33A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97961" y="3931302"/>
            <a:ext cx="2160000" cy="2160000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19" name="Textplatzhalter 24">
            <a:extLst>
              <a:ext uri="{FF2B5EF4-FFF2-40B4-BE49-F238E27FC236}">
                <a16:creationId xmlns:a16="http://schemas.microsoft.com/office/drawing/2014/main" id="{BAA10CB8-621B-815A-7592-4DA7C1206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60180" y="1735993"/>
            <a:ext cx="2294885" cy="2294885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24">
            <a:extLst>
              <a:ext uri="{FF2B5EF4-FFF2-40B4-BE49-F238E27FC236}">
                <a16:creationId xmlns:a16="http://schemas.microsoft.com/office/drawing/2014/main" id="{389092C9-45AB-BD6F-338B-D3DDFA1289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362823" y="1785238"/>
            <a:ext cx="2223279" cy="2223279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6" name="Textplatzhalter 14">
            <a:extLst>
              <a:ext uri="{FF2B5EF4-FFF2-40B4-BE49-F238E27FC236}">
                <a16:creationId xmlns:a16="http://schemas.microsoft.com/office/drawing/2014/main" id="{043809F9-A3DB-F6CE-393E-C2897F2EDAB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989857" y="4299760"/>
            <a:ext cx="3781426" cy="18307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2" name="Bildplatzhalter 22">
            <a:extLst>
              <a:ext uri="{FF2B5EF4-FFF2-40B4-BE49-F238E27FC236}">
                <a16:creationId xmlns:a16="http://schemas.microsoft.com/office/drawing/2014/main" id="{DC1C2F65-AA49-C451-E4AF-C96B0178CC2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362823" y="1831634"/>
            <a:ext cx="2160000" cy="2160000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DE3D489-DF89-8074-B067-006589B692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2" y="548680"/>
            <a:ext cx="1149995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0021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arbeiter/Zita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10D9367-4CD4-E717-E12C-9005D7479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5C1571-D5E1-F9ED-A673-0470826EA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extplatzhalter 24">
            <a:extLst>
              <a:ext uri="{FF2B5EF4-FFF2-40B4-BE49-F238E27FC236}">
                <a16:creationId xmlns:a16="http://schemas.microsoft.com/office/drawing/2014/main" id="{3EC93965-16B6-1AA8-BF3B-509851A14F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85321" y="537900"/>
            <a:ext cx="3203950" cy="3203950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0" name="Textplatzhalter 24">
            <a:extLst>
              <a:ext uri="{FF2B5EF4-FFF2-40B4-BE49-F238E27FC236}">
                <a16:creationId xmlns:a16="http://schemas.microsoft.com/office/drawing/2014/main" id="{1F674718-0410-1BF7-8E60-A6A9182668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487964" y="615511"/>
            <a:ext cx="3103978" cy="3103978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43CC1AC-061B-035C-5086-89DED1706B9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162537" y="3969588"/>
            <a:ext cx="7849518" cy="2159750"/>
          </a:xfrm>
        </p:spPr>
        <p:txBody>
          <a:bodyPr/>
          <a:lstStyle>
            <a:lvl1pPr algn="ctr">
              <a:defRPr>
                <a:solidFill>
                  <a:schemeClr val="accent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Bildplatzhalter 22">
            <a:extLst>
              <a:ext uri="{FF2B5EF4-FFF2-40B4-BE49-F238E27FC236}">
                <a16:creationId xmlns:a16="http://schemas.microsoft.com/office/drawing/2014/main" id="{EE91F89E-083F-B11B-9654-3A764870445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487962" y="768022"/>
            <a:ext cx="3015633" cy="3015633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0886C18-ED34-9754-B450-A23C4EE2ED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2470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arbeiter/Zitat 3 negativ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10D9367-4CD4-E717-E12C-9005D7479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5C1571-D5E1-F9ED-A673-0470826EA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Textplatzhalter 24">
            <a:extLst>
              <a:ext uri="{FF2B5EF4-FFF2-40B4-BE49-F238E27FC236}">
                <a16:creationId xmlns:a16="http://schemas.microsoft.com/office/drawing/2014/main" id="{2C9A1CAE-DDCF-C59A-68B3-87C00B0163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85321" y="537900"/>
            <a:ext cx="3203950" cy="3203950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6" name="Textplatzhalter 24">
            <a:extLst>
              <a:ext uri="{FF2B5EF4-FFF2-40B4-BE49-F238E27FC236}">
                <a16:creationId xmlns:a16="http://schemas.microsoft.com/office/drawing/2014/main" id="{1C6043EA-D4C4-981A-A42D-63EA1E2F5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487964" y="615511"/>
            <a:ext cx="3103978" cy="3103978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01BD61C5-A5E5-2568-9C22-13A28330473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162537" y="3969588"/>
            <a:ext cx="7849518" cy="215975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Bildplatzhalter 22">
            <a:extLst>
              <a:ext uri="{FF2B5EF4-FFF2-40B4-BE49-F238E27FC236}">
                <a16:creationId xmlns:a16="http://schemas.microsoft.com/office/drawing/2014/main" id="{ECE26C2D-E006-8F6C-31E0-F9A58B1616DC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487962" y="768022"/>
            <a:ext cx="3015633" cy="3015633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39268E1-4A52-5803-A1D4-2E5B297231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2" y="548680"/>
            <a:ext cx="1149995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2831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arbeiter/Zita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E8407B6-C367-9613-33D5-35E66E8CB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8" y="549275"/>
            <a:ext cx="5324071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ADBE653-ABEA-D69B-2FE7-368BB50C95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7E6F7A6-AD5E-49BF-9B3A-1D0D7D93AE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extplatzhalter 24">
            <a:extLst>
              <a:ext uri="{FF2B5EF4-FFF2-40B4-BE49-F238E27FC236}">
                <a16:creationId xmlns:a16="http://schemas.microsoft.com/office/drawing/2014/main" id="{221130CF-D447-DE3D-4D92-8C47EAF89D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751597" y="933974"/>
            <a:ext cx="4668475" cy="4668475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6" name="Textplatzhalter 24">
            <a:extLst>
              <a:ext uri="{FF2B5EF4-FFF2-40B4-BE49-F238E27FC236}">
                <a16:creationId xmlns:a16="http://schemas.microsoft.com/office/drawing/2014/main" id="{9A1A9A10-5E79-1E33-6B1A-6DCA1F565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749358" y="1062163"/>
            <a:ext cx="4522807" cy="4522807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1AC08B9-DCB1-EA7C-396A-2859DA337FB8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66763" y="1989138"/>
            <a:ext cx="5329237" cy="4140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Bildplatzhalter 22">
            <a:extLst>
              <a:ext uri="{FF2B5EF4-FFF2-40B4-BE49-F238E27FC236}">
                <a16:creationId xmlns:a16="http://schemas.microsoft.com/office/drawing/2014/main" id="{75D39039-F99B-FFEE-D4A9-891EA76076BA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745045" y="1178320"/>
            <a:ext cx="4394079" cy="4394079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73B8A55-9D93-4399-9204-72D0305668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89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arbeiter/Zitat 4 negativ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E8407B6-C367-9613-33D5-35E66E8CB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8" y="549275"/>
            <a:ext cx="5324071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ADBE653-ABEA-D69B-2FE7-368BB50C95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7E6F7A6-AD5E-49BF-9B3A-1D0D7D93AE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extplatzhalter 24">
            <a:extLst>
              <a:ext uri="{FF2B5EF4-FFF2-40B4-BE49-F238E27FC236}">
                <a16:creationId xmlns:a16="http://schemas.microsoft.com/office/drawing/2014/main" id="{221130CF-D447-DE3D-4D92-8C47EAF89D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751597" y="933974"/>
            <a:ext cx="4668475" cy="4668475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6" name="Textplatzhalter 24">
            <a:extLst>
              <a:ext uri="{FF2B5EF4-FFF2-40B4-BE49-F238E27FC236}">
                <a16:creationId xmlns:a16="http://schemas.microsoft.com/office/drawing/2014/main" id="{9A1A9A10-5E79-1E33-6B1A-6DCA1F565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749358" y="1062163"/>
            <a:ext cx="4522807" cy="4522807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1AC08B9-DCB1-EA7C-396A-2859DA337FB8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66763" y="1989138"/>
            <a:ext cx="5329237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Bildplatzhalter 22">
            <a:extLst>
              <a:ext uri="{FF2B5EF4-FFF2-40B4-BE49-F238E27FC236}">
                <a16:creationId xmlns:a16="http://schemas.microsoft.com/office/drawing/2014/main" id="{75D39039-F99B-FFEE-D4A9-891EA76076BA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745045" y="1178320"/>
            <a:ext cx="4394079" cy="4394079"/>
          </a:xfrm>
          <a:prstGeom prst="ellipse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4F0E8B9-B04B-E715-BA36-F7F1D77A17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2" y="548680"/>
            <a:ext cx="1149995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748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00000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/Tabelle/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E466CF1A-F950-3EEA-725D-E4F519AC30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8" y="549275"/>
            <a:ext cx="8748000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50AFCFFE-5E07-DB10-93F4-B27CDE384BB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71928" y="1989138"/>
            <a:ext cx="7160810" cy="3600450"/>
          </a:xfr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10D9367-4CD4-E717-E12C-9005D7479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5C1571-D5E1-F9ED-A673-0470826EA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BF540E-8BF0-E074-BB52-B50DDAA9D2B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328025" y="1989138"/>
            <a:ext cx="3092047" cy="360045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4A0A9FC-70F1-C41B-D3EE-76F2BA0369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1726" y="5733256"/>
            <a:ext cx="10653511" cy="396082"/>
          </a:xfrm>
        </p:spPr>
        <p:txBody>
          <a:bodyPr anchor="b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* Fußnoten sitzen immer am unteren Rand des Inhaltsbereiches und sind unten ausgerichtet. Innogy Regular, 12 </a:t>
            </a:r>
            <a:r>
              <a:rPr lang="de-DE" err="1"/>
              <a:t>pt</a:t>
            </a:r>
            <a:r>
              <a:rPr lang="de-DE"/>
              <a:t>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CB44AE1-2DA6-9C57-6157-F7A459372F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300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246" userDrawn="1">
          <p15:clr>
            <a:srgbClr val="000000"/>
          </p15:clr>
        </p15:guide>
        <p15:guide id="5" pos="4997" userDrawn="1">
          <p15:clr>
            <a:srgbClr val="00000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/Tabelle/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7AB386D-18B8-1F4B-A2DA-EFBE07007B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961313" y="0"/>
            <a:ext cx="4230687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E466CF1A-F950-3EEA-725D-E4F519AC30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8" y="549275"/>
            <a:ext cx="6871885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5143DE00-39A3-01D5-4103-42918FE18C0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71928" y="1989138"/>
            <a:ext cx="6871885" cy="3600450"/>
          </a:xfr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10D9367-4CD4-E717-E12C-9005D7479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5C1571-D5E1-F9ED-A673-0470826EA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5317EE26-6132-5FFB-0894-BDE75F91E0C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328249" y="1989138"/>
            <a:ext cx="3123884" cy="414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80938FCD-3BD4-051B-40B5-7FD6A00D680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1727" y="5733256"/>
            <a:ext cx="6871885" cy="396082"/>
          </a:xfrm>
        </p:spPr>
        <p:txBody>
          <a:bodyPr anchor="b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* Fußnoten sitzen immer am unteren Rand des Inhaltsbereiches und sind unten ausgerichtet. </a:t>
            </a:r>
            <a:br>
              <a:rPr lang="de-DE"/>
            </a:br>
            <a:r>
              <a:rPr lang="de-DE"/>
              <a:t>Innogy Regular, 12 </a:t>
            </a:r>
            <a:r>
              <a:rPr lang="de-DE" err="1"/>
              <a:t>pt</a:t>
            </a:r>
            <a:r>
              <a:rPr lang="de-DE"/>
              <a:t>.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93FB907-5C30-F64B-7588-C22BA6DD49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2" y="548680"/>
            <a:ext cx="1149995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217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4815" userDrawn="1">
          <p15:clr>
            <a:srgbClr val="00000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/Tabelle/Timelin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D0D2D25F-E095-BD88-84A6-3A6DD75DD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48000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A2D01B8D-1F75-5023-8983-AFA2F1AF864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71927" y="1989138"/>
            <a:ext cx="10648547" cy="3600450"/>
          </a:xfr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9371695-FB7C-8F9E-E0F8-B8F938F5EE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6706473-A788-BC58-FCF0-1EF8F961A7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346C2006-75B2-BB7E-FDF8-E77C8B22A3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1727" y="5733256"/>
            <a:ext cx="10658474" cy="396082"/>
          </a:xfrm>
        </p:spPr>
        <p:txBody>
          <a:bodyPr anchor="b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* Fußnoten sitzen immer am unteren Rand des Inhaltsbereiches und sind unten ausgerichtet. Innogy Regular, 12 </a:t>
            </a:r>
            <a:r>
              <a:rPr lang="de-DE" err="1"/>
              <a:t>pt</a:t>
            </a:r>
            <a:r>
              <a:rPr lang="de-DE"/>
              <a:t>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AC0C0BE-39A1-BFAC-1264-DC56A1C098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2748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ihandform 24">
            <a:extLst>
              <a:ext uri="{FF2B5EF4-FFF2-40B4-BE49-F238E27FC236}">
                <a16:creationId xmlns:a16="http://schemas.microsoft.com/office/drawing/2014/main" id="{78D04F61-70F4-2310-818C-93CDF8FBA2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39180" y="0"/>
            <a:ext cx="4652821" cy="5669584"/>
          </a:xfrm>
          <a:custGeom>
            <a:avLst/>
            <a:gdLst>
              <a:gd name="connsiteX0" fmla="*/ 415773 w 4652821"/>
              <a:gd name="connsiteY0" fmla="*/ 0 h 5669584"/>
              <a:gd name="connsiteX1" fmla="*/ 4652821 w 4652821"/>
              <a:gd name="connsiteY1" fmla="*/ 0 h 5669584"/>
              <a:gd name="connsiteX2" fmla="*/ 4652821 w 4652821"/>
              <a:gd name="connsiteY2" fmla="*/ 5600179 h 5669584"/>
              <a:gd name="connsiteX3" fmla="*/ 4517101 w 4652821"/>
              <a:gd name="connsiteY3" fmla="*/ 5624416 h 5669584"/>
              <a:gd name="connsiteX4" fmla="*/ 3920107 w 4652821"/>
              <a:gd name="connsiteY4" fmla="*/ 5669584 h 5669584"/>
              <a:gd name="connsiteX5" fmla="*/ 0 w 4652821"/>
              <a:gd name="connsiteY5" fmla="*/ 1749477 h 5669584"/>
              <a:gd name="connsiteX6" fmla="*/ 308062 w 4652821"/>
              <a:gd name="connsiteY6" fmla="*/ 223595 h 5669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2821" h="5669584">
                <a:moveTo>
                  <a:pt x="415773" y="0"/>
                </a:moveTo>
                <a:lnTo>
                  <a:pt x="4652821" y="0"/>
                </a:lnTo>
                <a:lnTo>
                  <a:pt x="4652821" y="5600179"/>
                </a:lnTo>
                <a:lnTo>
                  <a:pt x="4517101" y="5624416"/>
                </a:lnTo>
                <a:cubicBezTo>
                  <a:pt x="4322444" y="5654159"/>
                  <a:pt x="4123077" y="5669584"/>
                  <a:pt x="3920107" y="5669584"/>
                </a:cubicBezTo>
                <a:cubicBezTo>
                  <a:pt x="1755092" y="5669584"/>
                  <a:pt x="0" y="3914492"/>
                  <a:pt x="0" y="1749477"/>
                </a:cubicBezTo>
                <a:cubicBezTo>
                  <a:pt x="0" y="1208223"/>
                  <a:pt x="109694" y="692590"/>
                  <a:pt x="308062" y="223595"/>
                </a:cubicBezTo>
                <a:close/>
              </a:path>
            </a:pathLst>
          </a:custGeom>
          <a:solidFill>
            <a:srgbClr val="7CC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3" name="Freihandform 22">
            <a:extLst>
              <a:ext uri="{FF2B5EF4-FFF2-40B4-BE49-F238E27FC236}">
                <a16:creationId xmlns:a16="http://schemas.microsoft.com/office/drawing/2014/main" id="{640E98F1-D024-31E1-CC26-28902CE7C8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888500" y="0"/>
            <a:ext cx="4303500" cy="4899816"/>
          </a:xfrm>
          <a:custGeom>
            <a:avLst/>
            <a:gdLst>
              <a:gd name="connsiteX0" fmla="*/ 307689 w 4303500"/>
              <a:gd name="connsiteY0" fmla="*/ 0 h 4899816"/>
              <a:gd name="connsiteX1" fmla="*/ 4303500 w 4303500"/>
              <a:gd name="connsiteY1" fmla="*/ 0 h 4899816"/>
              <a:gd name="connsiteX2" fmla="*/ 4303500 w 4303500"/>
              <a:gd name="connsiteY2" fmla="*/ 4799709 h 4899816"/>
              <a:gd name="connsiteX3" fmla="*/ 4175677 w 4303500"/>
              <a:gd name="connsiteY3" fmla="*/ 4829211 h 4899816"/>
              <a:gd name="connsiteX4" fmla="*/ 3475286 w 4303500"/>
              <a:gd name="connsiteY4" fmla="*/ 4899816 h 4899816"/>
              <a:gd name="connsiteX5" fmla="*/ 0 w 4303500"/>
              <a:gd name="connsiteY5" fmla="*/ 1424530 h 4899816"/>
              <a:gd name="connsiteX6" fmla="*/ 273105 w 4303500"/>
              <a:gd name="connsiteY6" fmla="*/ 71792 h 489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03500" h="4899816">
                <a:moveTo>
                  <a:pt x="307689" y="0"/>
                </a:moveTo>
                <a:lnTo>
                  <a:pt x="4303500" y="0"/>
                </a:lnTo>
                <a:lnTo>
                  <a:pt x="4303500" y="4799709"/>
                </a:lnTo>
                <a:lnTo>
                  <a:pt x="4175677" y="4829211"/>
                </a:lnTo>
                <a:cubicBezTo>
                  <a:pt x="3949445" y="4875505"/>
                  <a:pt x="3715204" y="4899816"/>
                  <a:pt x="3475286" y="4899816"/>
                </a:cubicBezTo>
                <a:cubicBezTo>
                  <a:pt x="1555939" y="4899816"/>
                  <a:pt x="0" y="3343877"/>
                  <a:pt x="0" y="1424530"/>
                </a:cubicBezTo>
                <a:cubicBezTo>
                  <a:pt x="0" y="944693"/>
                  <a:pt x="97246" y="487570"/>
                  <a:pt x="273105" y="71792"/>
                </a:cubicBez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49F16A55-F602-6C3B-7A0F-E4AB709A39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4"/>
            <a:ext cx="5324072" cy="918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DCF30C9-A17B-1875-D767-97A314BA25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A03FB64-1E1F-BC70-8060-9F4A298B46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D6EF9EF-DD0D-3001-CF20-C5FA3C877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-1" y="1916832"/>
            <a:ext cx="7602013" cy="4311291"/>
            <a:chOff x="4992463" y="1739750"/>
            <a:chExt cx="7199538" cy="4497562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CAB544AE-85B6-0F12-E7D3-88FEED5A00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5372"/>
            <a:stretch>
              <a:fillRect/>
            </a:stretch>
          </p:blipFill>
          <p:spPr>
            <a:xfrm>
              <a:off x="4992463" y="1739750"/>
              <a:ext cx="7199538" cy="4497562"/>
            </a:xfrm>
            <a:custGeom>
              <a:avLst/>
              <a:gdLst>
                <a:gd name="connsiteX0" fmla="*/ 0 w 7199538"/>
                <a:gd name="connsiteY0" fmla="*/ 0 h 4497562"/>
                <a:gd name="connsiteX1" fmla="*/ 7199538 w 7199538"/>
                <a:gd name="connsiteY1" fmla="*/ 0 h 4497562"/>
                <a:gd name="connsiteX2" fmla="*/ 7199538 w 7199538"/>
                <a:gd name="connsiteY2" fmla="*/ 4497562 h 4497562"/>
                <a:gd name="connsiteX3" fmla="*/ 0 w 7199538"/>
                <a:gd name="connsiteY3" fmla="*/ 4497562 h 4497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99538" h="4497562">
                  <a:moveTo>
                    <a:pt x="0" y="0"/>
                  </a:moveTo>
                  <a:lnTo>
                    <a:pt x="7199538" y="0"/>
                  </a:lnTo>
                  <a:lnTo>
                    <a:pt x="7199538" y="4497562"/>
                  </a:lnTo>
                  <a:lnTo>
                    <a:pt x="0" y="4497562"/>
                  </a:lnTo>
                  <a:close/>
                </a:path>
              </a:pathLst>
            </a:custGeom>
          </p:spPr>
        </p:pic>
        <p:sp>
          <p:nvSpPr>
            <p:cNvPr id="5" name="Bildplatzhalter 30">
              <a:extLst>
                <a:ext uri="{FF2B5EF4-FFF2-40B4-BE49-F238E27FC236}">
                  <a16:creationId xmlns:a16="http://schemas.microsoft.com/office/drawing/2014/main" id="{AB648DEF-F4FB-CC1D-7B3B-D0BEE65B8245}"/>
                </a:ext>
              </a:extLst>
            </p:cNvPr>
            <p:cNvSpPr txBox="1">
              <a:spLocks/>
            </p:cNvSpPr>
            <p:nvPr/>
          </p:nvSpPr>
          <p:spPr>
            <a:xfrm>
              <a:off x="6406148" y="1933683"/>
              <a:ext cx="5785852" cy="3772915"/>
            </a:xfrm>
            <a:custGeom>
              <a:avLst/>
              <a:gdLst>
                <a:gd name="connsiteX0" fmla="*/ 131593 w 5785852"/>
                <a:gd name="connsiteY0" fmla="*/ 0 h 3772915"/>
                <a:gd name="connsiteX1" fmla="*/ 5785852 w 5785852"/>
                <a:gd name="connsiteY1" fmla="*/ 0 h 3772915"/>
                <a:gd name="connsiteX2" fmla="*/ 5785852 w 5785852"/>
                <a:gd name="connsiteY2" fmla="*/ 3772915 h 3772915"/>
                <a:gd name="connsiteX3" fmla="*/ 131593 w 5785852"/>
                <a:gd name="connsiteY3" fmla="*/ 3772915 h 3772915"/>
                <a:gd name="connsiteX4" fmla="*/ 0 w 5785852"/>
                <a:gd name="connsiteY4" fmla="*/ 3642976 h 3772915"/>
                <a:gd name="connsiteX5" fmla="*/ 0 w 5785852"/>
                <a:gd name="connsiteY5" fmla="*/ 129940 h 3772915"/>
                <a:gd name="connsiteX6" fmla="*/ 131593 w 5785852"/>
                <a:gd name="connsiteY6" fmla="*/ 0 h 3772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85852" h="3772915">
                  <a:moveTo>
                    <a:pt x="131593" y="0"/>
                  </a:moveTo>
                  <a:lnTo>
                    <a:pt x="5785852" y="0"/>
                  </a:lnTo>
                  <a:lnTo>
                    <a:pt x="5785852" y="3772915"/>
                  </a:lnTo>
                  <a:lnTo>
                    <a:pt x="131593" y="3772915"/>
                  </a:lnTo>
                  <a:cubicBezTo>
                    <a:pt x="58916" y="3772915"/>
                    <a:pt x="0" y="3714739"/>
                    <a:pt x="0" y="3642976"/>
                  </a:cubicBezTo>
                  <a:lnTo>
                    <a:pt x="0" y="129940"/>
                  </a:lnTo>
                  <a:cubicBezTo>
                    <a:pt x="0" y="58176"/>
                    <a:pt x="58916" y="0"/>
                    <a:pt x="131593" y="0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ctr" defTabSz="914400" rtl="0" eaLnBrk="1" latinLnBrk="0" hangingPunct="1">
                <a:defRPr sz="1200" i="1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</p:grp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E6AC613E-4538-71C6-9769-C4C681B0D90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700" y="2184400"/>
            <a:ext cx="6018213" cy="3460750"/>
          </a:xfrm>
          <a:solidFill>
            <a:schemeClr val="bg1"/>
          </a:solidFill>
        </p:spPr>
        <p:txBody>
          <a:bodyPr anchor="ctr"/>
          <a:lstStyle>
            <a:lvl2pPr algn="ctr">
              <a:defRPr>
                <a:solidFill>
                  <a:schemeClr val="bg1"/>
                </a:solidFill>
              </a:defRPr>
            </a:lvl2pPr>
          </a:lstStyle>
          <a:p>
            <a:pPr lvl="1"/>
            <a:endParaRPr lang="de-DE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652755D4-EC88-64EF-ED75-719AF9757A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20458" y="0"/>
            <a:ext cx="3971543" cy="4774818"/>
          </a:xfrm>
          <a:custGeom>
            <a:avLst/>
            <a:gdLst>
              <a:gd name="connsiteX0" fmla="*/ 480927 w 3971543"/>
              <a:gd name="connsiteY0" fmla="*/ 0 h 4774818"/>
              <a:gd name="connsiteX1" fmla="*/ 3971543 w 3971543"/>
              <a:gd name="connsiteY1" fmla="*/ 0 h 4774818"/>
              <a:gd name="connsiteX2" fmla="*/ 3971543 w 3971543"/>
              <a:gd name="connsiteY2" fmla="*/ 4653220 h 4774818"/>
              <a:gd name="connsiteX3" fmla="*/ 3744896 w 3971543"/>
              <a:gd name="connsiteY3" fmla="*/ 4711497 h 4774818"/>
              <a:gd name="connsiteX4" fmla="*/ 3116760 w 3971543"/>
              <a:gd name="connsiteY4" fmla="*/ 4774818 h 4774818"/>
              <a:gd name="connsiteX5" fmla="*/ 0 w 3971543"/>
              <a:gd name="connsiteY5" fmla="*/ 1658058 h 4774818"/>
              <a:gd name="connsiteX6" fmla="*/ 376176 w 3971543"/>
              <a:gd name="connsiteY6" fmla="*/ 172425 h 477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71543" h="4774818">
                <a:moveTo>
                  <a:pt x="480927" y="0"/>
                </a:moveTo>
                <a:lnTo>
                  <a:pt x="3971543" y="0"/>
                </a:lnTo>
                <a:lnTo>
                  <a:pt x="3971543" y="4653220"/>
                </a:lnTo>
                <a:lnTo>
                  <a:pt x="3744896" y="4711497"/>
                </a:lnTo>
                <a:cubicBezTo>
                  <a:pt x="3542002" y="4753015"/>
                  <a:pt x="3331927" y="4774818"/>
                  <a:pt x="3116760" y="4774818"/>
                </a:cubicBezTo>
                <a:cubicBezTo>
                  <a:pt x="1395421" y="4774818"/>
                  <a:pt x="0" y="3379397"/>
                  <a:pt x="0" y="1658058"/>
                </a:cubicBezTo>
                <a:cubicBezTo>
                  <a:pt x="0" y="1120140"/>
                  <a:pt x="136272" y="614049"/>
                  <a:pt x="376176" y="172425"/>
                </a:cubicBezTo>
                <a:close/>
              </a:path>
            </a:pathLst>
          </a:custGeom>
          <a:solidFill>
            <a:srgbClr val="DDDBDA"/>
          </a:solidFill>
        </p:spPr>
        <p:txBody>
          <a:bodyPr wrap="square" anchor="ctr">
            <a:noAutofit/>
          </a:bodyPr>
          <a:lstStyle>
            <a:lvl1pPr algn="ctr">
              <a:defRPr>
                <a:noFill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380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 7">
            <a:extLst>
              <a:ext uri="{FF2B5EF4-FFF2-40B4-BE49-F238E27FC236}">
                <a16:creationId xmlns:a16="http://schemas.microsoft.com/office/drawing/2014/main" id="{7A58412C-66DD-B523-B6CD-AE901B5A3F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929135" y="1"/>
            <a:ext cx="3262863" cy="2971799"/>
          </a:xfrm>
          <a:custGeom>
            <a:avLst/>
            <a:gdLst>
              <a:gd name="connsiteX0" fmla="*/ 68417 w 3429000"/>
              <a:gd name="connsiteY0" fmla="*/ 0 h 3123115"/>
              <a:gd name="connsiteX1" fmla="*/ 3429000 w 3429000"/>
              <a:gd name="connsiteY1" fmla="*/ 0 h 3123115"/>
              <a:gd name="connsiteX2" fmla="*/ 3429000 w 3429000"/>
              <a:gd name="connsiteY2" fmla="*/ 2962224 h 3123115"/>
              <a:gd name="connsiteX3" fmla="*/ 3302052 w 3429000"/>
              <a:gd name="connsiteY3" fmla="*/ 3008687 h 3123115"/>
              <a:gd name="connsiteX4" fmla="*/ 2545191 w 3429000"/>
              <a:gd name="connsiteY4" fmla="*/ 3123115 h 3123115"/>
              <a:gd name="connsiteX5" fmla="*/ 0 w 3429000"/>
              <a:gd name="connsiteY5" fmla="*/ 577924 h 3123115"/>
              <a:gd name="connsiteX6" fmla="*/ 51709 w 3429000"/>
              <a:gd name="connsiteY6" fmla="*/ 64979 h 3123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29000" h="3123115">
                <a:moveTo>
                  <a:pt x="68417" y="0"/>
                </a:moveTo>
                <a:lnTo>
                  <a:pt x="3429000" y="0"/>
                </a:lnTo>
                <a:lnTo>
                  <a:pt x="3429000" y="2962224"/>
                </a:lnTo>
                <a:lnTo>
                  <a:pt x="3302052" y="3008687"/>
                </a:lnTo>
                <a:cubicBezTo>
                  <a:pt x="3062960" y="3083054"/>
                  <a:pt x="2808755" y="3123115"/>
                  <a:pt x="2545191" y="3123115"/>
                </a:cubicBezTo>
                <a:cubicBezTo>
                  <a:pt x="1139521" y="3123115"/>
                  <a:pt x="0" y="1983594"/>
                  <a:pt x="0" y="577924"/>
                </a:cubicBezTo>
                <a:cubicBezTo>
                  <a:pt x="0" y="402215"/>
                  <a:pt x="17805" y="230665"/>
                  <a:pt x="51709" y="64979"/>
                </a:cubicBezTo>
                <a:close/>
              </a:path>
            </a:pathLst>
          </a:custGeom>
          <a:solidFill>
            <a:srgbClr val="52BB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" name="Freihandform 4">
            <a:extLst>
              <a:ext uri="{FF2B5EF4-FFF2-40B4-BE49-F238E27FC236}">
                <a16:creationId xmlns:a16="http://schemas.microsoft.com/office/drawing/2014/main" id="{8BD98EF5-EA97-2C90-F5E3-98943757C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085555" y="0"/>
            <a:ext cx="3106442" cy="2880758"/>
          </a:xfrm>
          <a:custGeom>
            <a:avLst/>
            <a:gdLst>
              <a:gd name="connsiteX0" fmla="*/ 67764 w 3264614"/>
              <a:gd name="connsiteY0" fmla="*/ 0 h 3027438"/>
              <a:gd name="connsiteX1" fmla="*/ 3264614 w 3264614"/>
              <a:gd name="connsiteY1" fmla="*/ 0 h 3027438"/>
              <a:gd name="connsiteX2" fmla="*/ 3264614 w 3264614"/>
              <a:gd name="connsiteY2" fmla="*/ 2891379 h 3027438"/>
              <a:gd name="connsiteX3" fmla="*/ 3195416 w 3264614"/>
              <a:gd name="connsiteY3" fmla="*/ 2916707 h 3027438"/>
              <a:gd name="connsiteX4" fmla="*/ 2462996 w 3264614"/>
              <a:gd name="connsiteY4" fmla="*/ 3027438 h 3027438"/>
              <a:gd name="connsiteX5" fmla="*/ 0 w 3264614"/>
              <a:gd name="connsiteY5" fmla="*/ 564440 h 3027438"/>
              <a:gd name="connsiteX6" fmla="*/ 19788 w 3264614"/>
              <a:gd name="connsiteY6" fmla="*/ 250745 h 302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64614" h="3027438">
                <a:moveTo>
                  <a:pt x="67764" y="0"/>
                </a:moveTo>
                <a:lnTo>
                  <a:pt x="3264614" y="0"/>
                </a:lnTo>
                <a:lnTo>
                  <a:pt x="3264614" y="2891379"/>
                </a:lnTo>
                <a:lnTo>
                  <a:pt x="3195416" y="2916707"/>
                </a:lnTo>
                <a:cubicBezTo>
                  <a:pt x="2964046" y="2988671"/>
                  <a:pt x="2718048" y="3027438"/>
                  <a:pt x="2462996" y="3027438"/>
                </a:cubicBezTo>
                <a:cubicBezTo>
                  <a:pt x="1102721" y="3027438"/>
                  <a:pt x="0" y="1924716"/>
                  <a:pt x="0" y="564440"/>
                </a:cubicBezTo>
                <a:cubicBezTo>
                  <a:pt x="0" y="458169"/>
                  <a:pt x="6730" y="353469"/>
                  <a:pt x="19788" y="250745"/>
                </a:cubicBez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5" name="Titel 18">
            <a:extLst>
              <a:ext uri="{FF2B5EF4-FFF2-40B4-BE49-F238E27FC236}">
                <a16:creationId xmlns:a16="http://schemas.microsoft.com/office/drawing/2014/main" id="{9FC1E302-0349-727B-C065-B5530553EE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30" y="549275"/>
            <a:ext cx="7869871" cy="917835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de-DE"/>
              <a:t>Agenda</a:t>
            </a:r>
          </a:p>
        </p:txBody>
      </p:sp>
      <p:sp>
        <p:nvSpPr>
          <p:cNvPr id="3" name="Freihandform 2">
            <a:extLst>
              <a:ext uri="{FF2B5EF4-FFF2-40B4-BE49-F238E27FC236}">
                <a16:creationId xmlns:a16="http://schemas.microsoft.com/office/drawing/2014/main" id="{D5775744-9792-191D-422D-DFCAE92DDA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441380" y="1"/>
            <a:ext cx="2750619" cy="2733493"/>
          </a:xfrm>
          <a:custGeom>
            <a:avLst/>
            <a:gdLst>
              <a:gd name="connsiteX0" fmla="*/ 153918 w 2890674"/>
              <a:gd name="connsiteY0" fmla="*/ 0 h 2872675"/>
              <a:gd name="connsiteX1" fmla="*/ 2890674 w 2890674"/>
              <a:gd name="connsiteY1" fmla="*/ 0 h 2872675"/>
              <a:gd name="connsiteX2" fmla="*/ 2890674 w 2890674"/>
              <a:gd name="connsiteY2" fmla="*/ 2712729 h 2872675"/>
              <a:gd name="connsiteX3" fmla="*/ 2710280 w 2890674"/>
              <a:gd name="connsiteY3" fmla="*/ 2778755 h 2872675"/>
              <a:gd name="connsiteX4" fmla="*/ 2089057 w 2890674"/>
              <a:gd name="connsiteY4" fmla="*/ 2872675 h 2872675"/>
              <a:gd name="connsiteX5" fmla="*/ 0 w 2890674"/>
              <a:gd name="connsiteY5" fmla="*/ 783618 h 2872675"/>
              <a:gd name="connsiteX6" fmla="*/ 126764 w 2890674"/>
              <a:gd name="connsiteY6" fmla="*/ 65330 h 2872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90674" h="2872675">
                <a:moveTo>
                  <a:pt x="153918" y="0"/>
                </a:moveTo>
                <a:lnTo>
                  <a:pt x="2890674" y="0"/>
                </a:lnTo>
                <a:lnTo>
                  <a:pt x="2890674" y="2712729"/>
                </a:lnTo>
                <a:lnTo>
                  <a:pt x="2710280" y="2778755"/>
                </a:lnTo>
                <a:cubicBezTo>
                  <a:pt x="2514036" y="2839793"/>
                  <a:pt x="2305386" y="2872675"/>
                  <a:pt x="2089057" y="2872675"/>
                </a:cubicBezTo>
                <a:cubicBezTo>
                  <a:pt x="935303" y="2872675"/>
                  <a:pt x="0" y="1937373"/>
                  <a:pt x="0" y="783618"/>
                </a:cubicBezTo>
                <a:cubicBezTo>
                  <a:pt x="0" y="531234"/>
                  <a:pt x="44756" y="289303"/>
                  <a:pt x="126764" y="65330"/>
                </a:cubicBezTo>
                <a:close/>
              </a:path>
            </a:pathLst>
          </a:custGeom>
          <a:solidFill>
            <a:srgbClr val="7CC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4" name="Textplatzhalter 49">
            <a:extLst>
              <a:ext uri="{FF2B5EF4-FFF2-40B4-BE49-F238E27FC236}">
                <a16:creationId xmlns:a16="http://schemas.microsoft.com/office/drawing/2014/main" id="{51CE96E2-E714-74CA-18B1-7497DFFECB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7045" y="1989135"/>
            <a:ext cx="830481" cy="1234224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9600" b="0" i="0">
                <a:solidFill>
                  <a:srgbClr val="C7D540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1" name="Textplatzhalter 25">
            <a:extLst>
              <a:ext uri="{FF2B5EF4-FFF2-40B4-BE49-F238E27FC236}">
                <a16:creationId xmlns:a16="http://schemas.microsoft.com/office/drawing/2014/main" id="{1906650E-A646-5510-E312-5425D1A6049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729410" y="1989135"/>
            <a:ext cx="2966719" cy="1235075"/>
          </a:xfrm>
        </p:spPr>
        <p:txBody>
          <a:bodyPr anchor="ctr" anchorCtr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Ich bin ei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6" name="Textplatzhalter 49">
            <a:extLst>
              <a:ext uri="{FF2B5EF4-FFF2-40B4-BE49-F238E27FC236}">
                <a16:creationId xmlns:a16="http://schemas.microsoft.com/office/drawing/2014/main" id="{F50B7D40-D290-0D63-B7EA-C60294FDE53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63" y="3429000"/>
            <a:ext cx="830481" cy="12342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9600" b="0" i="0">
                <a:solidFill>
                  <a:srgbClr val="C7D540"/>
                </a:solidFill>
                <a:latin typeface="+mj-lt"/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38" name="Textplatzhalter 25">
            <a:extLst>
              <a:ext uri="{FF2B5EF4-FFF2-40B4-BE49-F238E27FC236}">
                <a16:creationId xmlns:a16="http://schemas.microsoft.com/office/drawing/2014/main" id="{37B5D3CF-1AD2-9DD4-C4ED-B77FB42BDA8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729410" y="3429000"/>
            <a:ext cx="2966719" cy="1235075"/>
          </a:xfrm>
        </p:spPr>
        <p:txBody>
          <a:bodyPr anchor="ctr" anchorCtr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Ich bin ei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7" name="Textplatzhalter 49">
            <a:extLst>
              <a:ext uri="{FF2B5EF4-FFF2-40B4-BE49-F238E27FC236}">
                <a16:creationId xmlns:a16="http://schemas.microsoft.com/office/drawing/2014/main" id="{0DC788E1-5AE6-7C6A-7B99-FAFB48A351B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7045" y="4868864"/>
            <a:ext cx="830481" cy="1249833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9600" b="0" i="0">
                <a:solidFill>
                  <a:srgbClr val="C7D540"/>
                </a:solidFill>
                <a:latin typeface="+mj-lt"/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39" name="Textplatzhalter 25">
            <a:extLst>
              <a:ext uri="{FF2B5EF4-FFF2-40B4-BE49-F238E27FC236}">
                <a16:creationId xmlns:a16="http://schemas.microsoft.com/office/drawing/2014/main" id="{3E4580E3-5A02-1FD6-79D2-7EACA6270E4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729410" y="4867168"/>
            <a:ext cx="2966719" cy="1251530"/>
          </a:xfrm>
        </p:spPr>
        <p:txBody>
          <a:bodyPr anchor="ctr" anchorCtr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Ich bin ei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8" name="Textplatzhalter 49">
            <a:extLst>
              <a:ext uri="{FF2B5EF4-FFF2-40B4-BE49-F238E27FC236}">
                <a16:creationId xmlns:a16="http://schemas.microsoft.com/office/drawing/2014/main" id="{48BE2D05-8CFF-81DF-094E-C883F3328CB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25134" y="1989135"/>
            <a:ext cx="830481" cy="12342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9600" b="0" i="0">
                <a:solidFill>
                  <a:srgbClr val="C7D540"/>
                </a:solidFill>
                <a:latin typeface="+mj-lt"/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42" name="Textplatzhalter 25">
            <a:extLst>
              <a:ext uri="{FF2B5EF4-FFF2-40B4-BE49-F238E27FC236}">
                <a16:creationId xmlns:a16="http://schemas.microsoft.com/office/drawing/2014/main" id="{07709E95-67EE-E088-F194-5347079772E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982484" y="1989135"/>
            <a:ext cx="2966719" cy="1235075"/>
          </a:xfrm>
        </p:spPr>
        <p:txBody>
          <a:bodyPr anchor="ctr" anchorCtr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Ich bin ei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9" name="Textplatzhalter 49">
            <a:extLst>
              <a:ext uri="{FF2B5EF4-FFF2-40B4-BE49-F238E27FC236}">
                <a16:creationId xmlns:a16="http://schemas.microsoft.com/office/drawing/2014/main" id="{57245578-F8D3-5DD3-D98E-0C1C2809AB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20018" y="3429000"/>
            <a:ext cx="830481" cy="1234226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9600" b="0" i="0">
                <a:solidFill>
                  <a:srgbClr val="C7D540"/>
                </a:solidFill>
                <a:latin typeface="+mj-lt"/>
              </a:defRPr>
            </a:lvl1pPr>
          </a:lstStyle>
          <a:p>
            <a:pPr lvl="0"/>
            <a:r>
              <a:rPr lang="de-DE"/>
              <a:t>5</a:t>
            </a:r>
          </a:p>
        </p:txBody>
      </p:sp>
      <p:sp>
        <p:nvSpPr>
          <p:cNvPr id="40" name="Textplatzhalter 25">
            <a:extLst>
              <a:ext uri="{FF2B5EF4-FFF2-40B4-BE49-F238E27FC236}">
                <a16:creationId xmlns:a16="http://schemas.microsoft.com/office/drawing/2014/main" id="{DACD1E7A-A98C-171E-AF51-96470E8AF3D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972202" y="3428151"/>
            <a:ext cx="2977002" cy="1235075"/>
          </a:xfrm>
        </p:spPr>
        <p:txBody>
          <a:bodyPr anchor="ctr" anchorCtr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Ich bin ei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30" name="Textplatzhalter 49">
            <a:extLst>
              <a:ext uri="{FF2B5EF4-FFF2-40B4-BE49-F238E27FC236}">
                <a16:creationId xmlns:a16="http://schemas.microsoft.com/office/drawing/2014/main" id="{989E49C1-66B2-CE46-8CE1-7AD5EBEF059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25134" y="4868864"/>
            <a:ext cx="830481" cy="1249833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9600" b="0" i="0">
                <a:solidFill>
                  <a:srgbClr val="C7D540"/>
                </a:solidFill>
                <a:latin typeface="+mj-lt"/>
              </a:defRPr>
            </a:lvl1pPr>
          </a:lstStyle>
          <a:p>
            <a:pPr lvl="0"/>
            <a:r>
              <a:rPr lang="de-DE"/>
              <a:t>6</a:t>
            </a:r>
          </a:p>
        </p:txBody>
      </p:sp>
      <p:sp>
        <p:nvSpPr>
          <p:cNvPr id="41" name="Textplatzhalter 25">
            <a:extLst>
              <a:ext uri="{FF2B5EF4-FFF2-40B4-BE49-F238E27FC236}">
                <a16:creationId xmlns:a16="http://schemas.microsoft.com/office/drawing/2014/main" id="{1DEEC257-52B2-62B5-F786-100977FFB6C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972202" y="4867168"/>
            <a:ext cx="2977002" cy="1251530"/>
          </a:xfrm>
        </p:spPr>
        <p:txBody>
          <a:bodyPr anchor="ctr" anchorCtr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Ich bin ein </a:t>
            </a:r>
            <a:r>
              <a:rPr lang="de-DE" err="1"/>
              <a:t>Agendapunkt</a:t>
            </a:r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66911C7-080D-79BB-60BB-B725E25398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01837" y="551134"/>
            <a:ext cx="1654803" cy="78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833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9" userDrawn="1">
          <p15:clr>
            <a:srgbClr val="00000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Tablet auf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12755BF7-2A20-9D05-FC8A-EDCB2FD66F5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AD5BF2-E13B-71CE-8CA6-20764E1EC1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52A4BCBC-3AD4-A002-9BDB-19969B8F3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081634D-C0F2-5ACC-3454-CA0359E75B5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6763" y="1989138"/>
            <a:ext cx="3024981" cy="4140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5" name="Textplatzhalter 33">
            <a:extLst>
              <a:ext uri="{FF2B5EF4-FFF2-40B4-BE49-F238E27FC236}">
                <a16:creationId xmlns:a16="http://schemas.microsoft.com/office/drawing/2014/main" id="{974C1B67-2276-B24C-6F68-64B65A3824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64902" y="328613"/>
            <a:ext cx="7027099" cy="617069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42" name="Bildplatzhalter 41">
            <a:extLst>
              <a:ext uri="{FF2B5EF4-FFF2-40B4-BE49-F238E27FC236}">
                <a16:creationId xmlns:a16="http://schemas.microsoft.com/office/drawing/2014/main" id="{B7D19F5D-621F-F34C-F830-01FF7F2DF7D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 rot="21353807">
            <a:off x="5545500" y="738436"/>
            <a:ext cx="6846845" cy="5354534"/>
          </a:xfrm>
          <a:custGeom>
            <a:avLst/>
            <a:gdLst>
              <a:gd name="connsiteX0" fmla="*/ 6846845 w 6846845"/>
              <a:gd name="connsiteY0" fmla="*/ 0 h 5354534"/>
              <a:gd name="connsiteX1" fmla="*/ 6462761 w 6846845"/>
              <a:gd name="connsiteY1" fmla="*/ 5354025 h 5354534"/>
              <a:gd name="connsiteX2" fmla="*/ 152260 w 6846845"/>
              <a:gd name="connsiteY2" fmla="*/ 5354534 h 5354534"/>
              <a:gd name="connsiteX3" fmla="*/ 408 w 6846845"/>
              <a:gd name="connsiteY3" fmla="*/ 5202707 h 5354534"/>
              <a:gd name="connsiteX4" fmla="*/ 1 w 6846845"/>
              <a:gd name="connsiteY4" fmla="*/ 152392 h 5354534"/>
              <a:gd name="connsiteX5" fmla="*/ 151828 w 6846845"/>
              <a:gd name="connsiteY5" fmla="*/ 540 h 5354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845" h="5354534">
                <a:moveTo>
                  <a:pt x="6846845" y="0"/>
                </a:moveTo>
                <a:lnTo>
                  <a:pt x="6462761" y="5354025"/>
                </a:lnTo>
                <a:lnTo>
                  <a:pt x="152260" y="5354534"/>
                </a:lnTo>
                <a:cubicBezTo>
                  <a:pt x="68401" y="5354540"/>
                  <a:pt x="415" y="5286565"/>
                  <a:pt x="408" y="5202707"/>
                </a:cubicBezTo>
                <a:lnTo>
                  <a:pt x="1" y="152392"/>
                </a:lnTo>
                <a:cubicBezTo>
                  <a:pt x="-6" y="68533"/>
                  <a:pt x="67970" y="547"/>
                  <a:pt x="151828" y="5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26E0655-0060-5368-9EDD-016FBE12D1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6550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00000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16">
            <a:extLst>
              <a:ext uri="{FF2B5EF4-FFF2-40B4-BE49-F238E27FC236}">
                <a16:creationId xmlns:a16="http://schemas.microsoft.com/office/drawing/2014/main" id="{8664384E-0115-A40A-6AAE-223661F66A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66762" y="3988010"/>
            <a:ext cx="10656000" cy="105754"/>
          </a:xfrm>
          <a:custGeom>
            <a:avLst/>
            <a:gdLst>
              <a:gd name="connsiteX0" fmla="*/ 52877 w 10465779"/>
              <a:gd name="connsiteY0" fmla="*/ 0 h 105754"/>
              <a:gd name="connsiteX1" fmla="*/ 10412902 w 10465779"/>
              <a:gd name="connsiteY1" fmla="*/ 0 h 105754"/>
              <a:gd name="connsiteX2" fmla="*/ 10465779 w 10465779"/>
              <a:gd name="connsiteY2" fmla="*/ 52877 h 105754"/>
              <a:gd name="connsiteX3" fmla="*/ 10412902 w 10465779"/>
              <a:gd name="connsiteY3" fmla="*/ 105754 h 105754"/>
              <a:gd name="connsiteX4" fmla="*/ 52877 w 10465779"/>
              <a:gd name="connsiteY4" fmla="*/ 105754 h 105754"/>
              <a:gd name="connsiteX5" fmla="*/ 0 w 10465779"/>
              <a:gd name="connsiteY5" fmla="*/ 52877 h 105754"/>
              <a:gd name="connsiteX6" fmla="*/ 52877 w 10465779"/>
              <a:gd name="connsiteY6" fmla="*/ 0 h 105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65779" h="105754">
                <a:moveTo>
                  <a:pt x="52877" y="0"/>
                </a:moveTo>
                <a:lnTo>
                  <a:pt x="10412902" y="0"/>
                </a:lnTo>
                <a:cubicBezTo>
                  <a:pt x="10442105" y="0"/>
                  <a:pt x="10465779" y="23674"/>
                  <a:pt x="10465779" y="52877"/>
                </a:cubicBezTo>
                <a:cubicBezTo>
                  <a:pt x="10465779" y="82080"/>
                  <a:pt x="10442105" y="105754"/>
                  <a:pt x="10412902" y="105754"/>
                </a:cubicBezTo>
                <a:lnTo>
                  <a:pt x="52877" y="105754"/>
                </a:lnTo>
                <a:cubicBezTo>
                  <a:pt x="23674" y="105754"/>
                  <a:pt x="0" y="82080"/>
                  <a:pt x="0" y="52877"/>
                </a:cubicBezTo>
                <a:cubicBezTo>
                  <a:pt x="0" y="23674"/>
                  <a:pt x="23674" y="0"/>
                  <a:pt x="52877" y="0"/>
                </a:cubicBezTo>
                <a:close/>
              </a:path>
            </a:pathLst>
          </a:custGeom>
          <a:solidFill>
            <a:srgbClr val="6A6562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42" name="Titelplatzhalter 1">
            <a:extLst>
              <a:ext uri="{FF2B5EF4-FFF2-40B4-BE49-F238E27FC236}">
                <a16:creationId xmlns:a16="http://schemas.microsoft.com/office/drawing/2014/main" id="{80CF7BA6-E0F7-2940-9E06-2F9F60ADA3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48000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39" name="Textplatzhalter 36">
            <a:extLst>
              <a:ext uri="{FF2B5EF4-FFF2-40B4-BE49-F238E27FC236}">
                <a16:creationId xmlns:a16="http://schemas.microsoft.com/office/drawing/2014/main" id="{9C9CFC25-3C46-5BC4-F62A-C70893C8C80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215847" y="1984025"/>
            <a:ext cx="1780907" cy="1537669"/>
          </a:xfrm>
        </p:spPr>
        <p:txBody>
          <a:bodyPr/>
          <a:lstStyle>
            <a:lvl1pPr>
              <a:defRPr sz="1800">
                <a:solidFill>
                  <a:srgbClr val="C7D540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9" name="Bildplatzhalter 2">
            <a:extLst>
              <a:ext uri="{FF2B5EF4-FFF2-40B4-BE49-F238E27FC236}">
                <a16:creationId xmlns:a16="http://schemas.microsoft.com/office/drawing/2014/main" id="{E8F30DE5-AABE-33BA-2BCD-754981D71FE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418242" y="1990195"/>
            <a:ext cx="2437200" cy="1537668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8" name="Textplatzhalter 36">
            <a:extLst>
              <a:ext uri="{FF2B5EF4-FFF2-40B4-BE49-F238E27FC236}">
                <a16:creationId xmlns:a16="http://schemas.microsoft.com/office/drawing/2014/main" id="{6E89BC6F-8A37-0099-1BC3-DFEB07DE0E0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192486" y="1984026"/>
            <a:ext cx="2899029" cy="1610042"/>
          </a:xfrm>
        </p:spPr>
        <p:txBody>
          <a:bodyPr/>
          <a:lstStyle>
            <a:lvl1pPr>
              <a:defRPr sz="1800">
                <a:solidFill>
                  <a:srgbClr val="F1919C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0" name="Bildplatzhalter 2">
            <a:extLst>
              <a:ext uri="{FF2B5EF4-FFF2-40B4-BE49-F238E27FC236}">
                <a16:creationId xmlns:a16="http://schemas.microsoft.com/office/drawing/2014/main" id="{3F45559A-D2CD-7AAE-FCEB-AABC42391B1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510075" y="1989727"/>
            <a:ext cx="1424290" cy="1598000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E8E89006-FF0F-14D5-10EA-BA7D56612B07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0466" y="4635612"/>
            <a:ext cx="1975518" cy="1340312"/>
          </a:xfrm>
        </p:spPr>
        <p:txBody>
          <a:bodyPr/>
          <a:lstStyle>
            <a:lvl1pPr>
              <a:defRPr sz="1800">
                <a:solidFill>
                  <a:srgbClr val="7CCEF4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1" name="Bildplatzhalter 2">
            <a:extLst>
              <a:ext uri="{FF2B5EF4-FFF2-40B4-BE49-F238E27FC236}">
                <a16:creationId xmlns:a16="http://schemas.microsoft.com/office/drawing/2014/main" id="{0842C247-A182-3148-26B5-996B0A85D7D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76158" y="4640278"/>
            <a:ext cx="1258501" cy="1339103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41" name="Textplatzhalter 36">
            <a:extLst>
              <a:ext uri="{FF2B5EF4-FFF2-40B4-BE49-F238E27FC236}">
                <a16:creationId xmlns:a16="http://schemas.microsoft.com/office/drawing/2014/main" id="{385C03EE-E49A-3589-ACE0-0DE88868648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165905" y="4780612"/>
            <a:ext cx="1249937" cy="1195311"/>
          </a:xfrm>
        </p:spPr>
        <p:txBody>
          <a:bodyPr/>
          <a:lstStyle>
            <a:lvl1pPr>
              <a:defRPr sz="1800">
                <a:solidFill>
                  <a:srgbClr val="FDC75F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2" name="Bildplatzhalter 2">
            <a:extLst>
              <a:ext uri="{FF2B5EF4-FFF2-40B4-BE49-F238E27FC236}">
                <a16:creationId xmlns:a16="http://schemas.microsoft.com/office/drawing/2014/main" id="{F4BC1AD2-C64C-88DA-C527-D1298E54508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35872" y="4353867"/>
            <a:ext cx="2396411" cy="1625514"/>
          </a:xfrm>
          <a:prstGeom prst="rect">
            <a:avLst/>
          </a:prstGeom>
          <a:solidFill>
            <a:srgbClr val="DDDBD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40" name="Textplatzhalter 36">
            <a:extLst>
              <a:ext uri="{FF2B5EF4-FFF2-40B4-BE49-F238E27FC236}">
                <a16:creationId xmlns:a16="http://schemas.microsoft.com/office/drawing/2014/main" id="{E96CA687-0528-8314-000A-C55B7641743E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4911974" y="4910377"/>
            <a:ext cx="2463919" cy="1065548"/>
          </a:xfrm>
        </p:spPr>
        <p:txBody>
          <a:bodyPr/>
          <a:lstStyle>
            <a:lvl1pPr>
              <a:defRPr sz="1800">
                <a:solidFill>
                  <a:srgbClr val="52BBB5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DE22D95-E8A4-0281-47F8-C39323751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8A5C1-037F-9853-DE6A-EB04E3652F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48">
            <a:extLst>
              <a:ext uri="{FF2B5EF4-FFF2-40B4-BE49-F238E27FC236}">
                <a16:creationId xmlns:a16="http://schemas.microsoft.com/office/drawing/2014/main" id="{CDE089CE-9C6D-54E9-BAA7-DD2092B3B9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154440" y="4106892"/>
            <a:ext cx="36000" cy="1872000"/>
          </a:xfrm>
          <a:solidFill>
            <a:srgbClr val="7CCEF4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0" name="Textplatzhalter 50">
            <a:extLst>
              <a:ext uri="{FF2B5EF4-FFF2-40B4-BE49-F238E27FC236}">
                <a16:creationId xmlns:a16="http://schemas.microsoft.com/office/drawing/2014/main" id="{BD16B0AF-615E-3EF5-C9F2-A3922FC836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94208" y="3853408"/>
            <a:ext cx="360000" cy="360000"/>
          </a:xfrm>
          <a:prstGeom prst="ellipse">
            <a:avLst/>
          </a:prstGeom>
          <a:solidFill>
            <a:srgbClr val="7CCEF4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1" name="Textplatzhalter 48">
            <a:extLst>
              <a:ext uri="{FF2B5EF4-FFF2-40B4-BE49-F238E27FC236}">
                <a16:creationId xmlns:a16="http://schemas.microsoft.com/office/drawing/2014/main" id="{3C1DCB13-BAEC-6CE8-8BF4-CF26336BF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071681" y="1992629"/>
            <a:ext cx="36000" cy="2016000"/>
          </a:xfrm>
          <a:solidFill>
            <a:srgbClr val="C7D540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4" name="Textplatzhalter 50">
            <a:extLst>
              <a:ext uri="{FF2B5EF4-FFF2-40B4-BE49-F238E27FC236}">
                <a16:creationId xmlns:a16="http://schemas.microsoft.com/office/drawing/2014/main" id="{D98749B9-E984-7184-F7E9-E6F96805C3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904082" y="3853408"/>
            <a:ext cx="360000" cy="360000"/>
          </a:xfrm>
          <a:prstGeom prst="ellipse">
            <a:avLst/>
          </a:prstGeom>
          <a:solidFill>
            <a:srgbClr val="C7D540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5" name="Textplatzhalter 50">
            <a:extLst>
              <a:ext uri="{FF2B5EF4-FFF2-40B4-BE49-F238E27FC236}">
                <a16:creationId xmlns:a16="http://schemas.microsoft.com/office/drawing/2014/main" id="{5002CEEE-5F3E-26EE-C06A-B155998F8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908023" y="3853408"/>
            <a:ext cx="360000" cy="360000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18" name="Textplatzhalter 48">
            <a:extLst>
              <a:ext uri="{FF2B5EF4-FFF2-40B4-BE49-F238E27FC236}">
                <a16:creationId xmlns:a16="http://schemas.microsoft.com/office/drawing/2014/main" id="{87818B6D-8BE6-0063-CCCF-A5A38D8553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048321" y="1974718"/>
            <a:ext cx="36000" cy="2052000"/>
          </a:xfrm>
          <a:solidFill>
            <a:srgbClr val="F1919C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0" name="Textplatzhalter 50">
            <a:extLst>
              <a:ext uri="{FF2B5EF4-FFF2-40B4-BE49-F238E27FC236}">
                <a16:creationId xmlns:a16="http://schemas.microsoft.com/office/drawing/2014/main" id="{E6185742-6490-919C-6733-5FC0131853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885830" y="3853408"/>
            <a:ext cx="360000" cy="360000"/>
          </a:xfrm>
          <a:prstGeom prst="ellipse">
            <a:avLst/>
          </a:prstGeom>
          <a:solidFill>
            <a:srgbClr val="F1919C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4" name="Textplatzhalter 48">
            <a:extLst>
              <a:ext uri="{FF2B5EF4-FFF2-40B4-BE49-F238E27FC236}">
                <a16:creationId xmlns:a16="http://schemas.microsoft.com/office/drawing/2014/main" id="{B9F8F780-65B6-61BF-E53D-AAECF3C909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0035792" y="3959924"/>
            <a:ext cx="36000" cy="2016000"/>
          </a:xfrm>
          <a:solidFill>
            <a:srgbClr val="FDC75F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34" name="Textplatzhalter 50">
            <a:extLst>
              <a:ext uri="{FF2B5EF4-FFF2-40B4-BE49-F238E27FC236}">
                <a16:creationId xmlns:a16="http://schemas.microsoft.com/office/drawing/2014/main" id="{8C2C742D-02C0-67C1-BED6-55FECFEB76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871771" y="3853408"/>
            <a:ext cx="360000" cy="360000"/>
          </a:xfrm>
          <a:prstGeom prst="ellipse">
            <a:avLst/>
          </a:prstGeom>
          <a:solidFill>
            <a:srgbClr val="FDC75F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35" name="Textplatzhalter 48">
            <a:extLst>
              <a:ext uri="{FF2B5EF4-FFF2-40B4-BE49-F238E27FC236}">
                <a16:creationId xmlns:a16="http://schemas.microsoft.com/office/drawing/2014/main" id="{E8F8EA8C-638E-15DA-903F-64B53A0291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078000" y="4078922"/>
            <a:ext cx="36000" cy="828000"/>
          </a:xfr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C388425-EC9A-01EE-3257-B8C3C64D7F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5256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AEC3DE8-56F2-EE16-D385-572F41BC4B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48000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7355ABE7-785E-7E1B-3259-B48A5796FF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1570" y="3455183"/>
            <a:ext cx="1767142" cy="36021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 b="0" i="1">
                <a:solidFill>
                  <a:srgbClr val="000000"/>
                </a:solidFill>
                <a:latin typeface="+mj-lt"/>
              </a:defRPr>
            </a:lvl1pPr>
            <a:lvl2pPr marL="457200" indent="0" algn="l">
              <a:buNone/>
              <a:defRPr sz="1700" b="0" i="0">
                <a:latin typeface="Innogy" panose="020B0503040000020003" pitchFamily="34" charset="0"/>
              </a:defRPr>
            </a:lvl2pPr>
            <a:lvl3pPr marL="914400" indent="0" algn="l">
              <a:buNone/>
              <a:defRPr sz="1700" b="0" i="0">
                <a:latin typeface="Innogy" panose="020B0503040000020003" pitchFamily="34" charset="0"/>
              </a:defRPr>
            </a:lvl3pPr>
            <a:lvl4pPr marL="1371600" indent="0" algn="l">
              <a:buNone/>
              <a:defRPr sz="1700" b="0" i="0">
                <a:latin typeface="Innogy" panose="020B0503040000020003" pitchFamily="34" charset="0"/>
              </a:defRPr>
            </a:lvl4pPr>
            <a:lvl5pPr marL="1828800" indent="0" algn="l">
              <a:buNone/>
              <a:defRPr sz="1700" b="0" i="0">
                <a:latin typeface="Innogy" panose="020B0503040000020003" pitchFamily="34" charset="0"/>
              </a:defRPr>
            </a:lvl5pPr>
          </a:lstStyle>
          <a:p>
            <a:pPr lvl="0"/>
            <a:r>
              <a:rPr lang="en-GB"/>
              <a:t>2025</a:t>
            </a:r>
            <a:endParaRPr lang="de-DE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65BCC423-A31B-D773-FB98-313E99F036DE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516866" y="2006086"/>
            <a:ext cx="1246725" cy="1250388"/>
          </a:xfrm>
          <a:custGeom>
            <a:avLst/>
            <a:gdLst>
              <a:gd name="connsiteX0" fmla="*/ 625194 w 1246725"/>
              <a:gd name="connsiteY0" fmla="*/ 0 h 1250388"/>
              <a:gd name="connsiteX1" fmla="*/ 1237686 w 1246725"/>
              <a:gd name="connsiteY1" fmla="*/ 499196 h 1250388"/>
              <a:gd name="connsiteX2" fmla="*/ 1246725 w 1246725"/>
              <a:gd name="connsiteY2" fmla="*/ 588858 h 1250388"/>
              <a:gd name="connsiteX3" fmla="*/ 1246725 w 1246725"/>
              <a:gd name="connsiteY3" fmla="*/ 661530 h 1250388"/>
              <a:gd name="connsiteX4" fmla="*/ 1237686 w 1246725"/>
              <a:gd name="connsiteY4" fmla="*/ 751192 h 1250388"/>
              <a:gd name="connsiteX5" fmla="*/ 625194 w 1246725"/>
              <a:gd name="connsiteY5" fmla="*/ 1250388 h 1250388"/>
              <a:gd name="connsiteX6" fmla="*/ 0 w 1246725"/>
              <a:gd name="connsiteY6" fmla="*/ 625194 h 1250388"/>
              <a:gd name="connsiteX7" fmla="*/ 625194 w 1246725"/>
              <a:gd name="connsiteY7" fmla="*/ 0 h 12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6725" h="1250388">
                <a:moveTo>
                  <a:pt x="625194" y="0"/>
                </a:moveTo>
                <a:cubicBezTo>
                  <a:pt x="927319" y="0"/>
                  <a:pt x="1179389" y="214305"/>
                  <a:pt x="1237686" y="499196"/>
                </a:cubicBezTo>
                <a:lnTo>
                  <a:pt x="1246725" y="588858"/>
                </a:lnTo>
                <a:lnTo>
                  <a:pt x="1246725" y="661530"/>
                </a:lnTo>
                <a:lnTo>
                  <a:pt x="1237686" y="751192"/>
                </a:lnTo>
                <a:cubicBezTo>
                  <a:pt x="1179389" y="1036083"/>
                  <a:pt x="927319" y="1250388"/>
                  <a:pt x="625194" y="1250388"/>
                </a:cubicBezTo>
                <a:cubicBezTo>
                  <a:pt x="279909" y="1250388"/>
                  <a:pt x="0" y="970479"/>
                  <a:pt x="0" y="625194"/>
                </a:cubicBezTo>
                <a:cubicBezTo>
                  <a:pt x="0" y="279909"/>
                  <a:pt x="279909" y="0"/>
                  <a:pt x="625194" y="0"/>
                </a:cubicBezTo>
                <a:close/>
              </a:path>
            </a:pathLst>
          </a:custGeom>
          <a:solidFill>
            <a:srgbClr val="DDDBDA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C484D861-CE54-444C-E2FD-EFC66AEF29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8557" y="3455183"/>
            <a:ext cx="1767142" cy="36021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 b="0" i="1">
                <a:solidFill>
                  <a:srgbClr val="000000"/>
                </a:solidFill>
                <a:latin typeface="+mj-lt"/>
              </a:defRPr>
            </a:lvl1pPr>
            <a:lvl2pPr marL="457200" indent="0" algn="l">
              <a:buNone/>
              <a:defRPr sz="1700" b="0" i="0">
                <a:latin typeface="Innogy" panose="020B0503040000020003" pitchFamily="34" charset="0"/>
              </a:defRPr>
            </a:lvl2pPr>
            <a:lvl3pPr marL="914400" indent="0" algn="l">
              <a:buNone/>
              <a:defRPr sz="1700" b="0" i="0">
                <a:latin typeface="Innogy" panose="020B0503040000020003" pitchFamily="34" charset="0"/>
              </a:defRPr>
            </a:lvl3pPr>
            <a:lvl4pPr marL="1371600" indent="0" algn="l">
              <a:buNone/>
              <a:defRPr sz="1700" b="0" i="0">
                <a:latin typeface="Innogy" panose="020B0503040000020003" pitchFamily="34" charset="0"/>
              </a:defRPr>
            </a:lvl4pPr>
            <a:lvl5pPr marL="1828800" indent="0" algn="l">
              <a:buNone/>
              <a:defRPr sz="1700" b="0" i="0">
                <a:latin typeface="Innogy" panose="020B0503040000020003" pitchFamily="34" charset="0"/>
              </a:defRPr>
            </a:lvl5pPr>
          </a:lstStyle>
          <a:p>
            <a:pPr lvl="0"/>
            <a:r>
              <a:rPr lang="en-GB"/>
              <a:t>2025</a:t>
            </a:r>
            <a:endParaRPr lang="de-DE"/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D6A3825A-4641-47E2-6BC1-3023B3EE51B1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3481971" y="2006086"/>
            <a:ext cx="1246725" cy="1250388"/>
          </a:xfrm>
          <a:custGeom>
            <a:avLst/>
            <a:gdLst>
              <a:gd name="connsiteX0" fmla="*/ 625194 w 1246725"/>
              <a:gd name="connsiteY0" fmla="*/ 0 h 1250388"/>
              <a:gd name="connsiteX1" fmla="*/ 1237686 w 1246725"/>
              <a:gd name="connsiteY1" fmla="*/ 499196 h 1250388"/>
              <a:gd name="connsiteX2" fmla="*/ 1246725 w 1246725"/>
              <a:gd name="connsiteY2" fmla="*/ 588858 h 1250388"/>
              <a:gd name="connsiteX3" fmla="*/ 1246725 w 1246725"/>
              <a:gd name="connsiteY3" fmla="*/ 661530 h 1250388"/>
              <a:gd name="connsiteX4" fmla="*/ 1237686 w 1246725"/>
              <a:gd name="connsiteY4" fmla="*/ 751192 h 1250388"/>
              <a:gd name="connsiteX5" fmla="*/ 625194 w 1246725"/>
              <a:gd name="connsiteY5" fmla="*/ 1250388 h 1250388"/>
              <a:gd name="connsiteX6" fmla="*/ 0 w 1246725"/>
              <a:gd name="connsiteY6" fmla="*/ 625194 h 1250388"/>
              <a:gd name="connsiteX7" fmla="*/ 625194 w 1246725"/>
              <a:gd name="connsiteY7" fmla="*/ 0 h 12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6725" h="1250388">
                <a:moveTo>
                  <a:pt x="625194" y="0"/>
                </a:moveTo>
                <a:cubicBezTo>
                  <a:pt x="927319" y="0"/>
                  <a:pt x="1179389" y="214305"/>
                  <a:pt x="1237686" y="499196"/>
                </a:cubicBezTo>
                <a:lnTo>
                  <a:pt x="1246725" y="588858"/>
                </a:lnTo>
                <a:lnTo>
                  <a:pt x="1246725" y="661530"/>
                </a:lnTo>
                <a:lnTo>
                  <a:pt x="1237686" y="751192"/>
                </a:lnTo>
                <a:cubicBezTo>
                  <a:pt x="1179389" y="1036083"/>
                  <a:pt x="927319" y="1250388"/>
                  <a:pt x="625194" y="1250388"/>
                </a:cubicBezTo>
                <a:cubicBezTo>
                  <a:pt x="279909" y="1250388"/>
                  <a:pt x="0" y="970479"/>
                  <a:pt x="0" y="625194"/>
                </a:cubicBezTo>
                <a:cubicBezTo>
                  <a:pt x="0" y="279909"/>
                  <a:pt x="279909" y="0"/>
                  <a:pt x="625194" y="0"/>
                </a:cubicBezTo>
                <a:close/>
              </a:path>
            </a:pathLst>
          </a:custGeom>
          <a:solidFill>
            <a:srgbClr val="DDDBDA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7C8E7231-F626-45BB-E4D9-87BF53E0109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19758" y="3455183"/>
            <a:ext cx="1767142" cy="36021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 b="0" i="1">
                <a:solidFill>
                  <a:srgbClr val="000000"/>
                </a:solidFill>
                <a:latin typeface="+mj-lt"/>
              </a:defRPr>
            </a:lvl1pPr>
            <a:lvl2pPr marL="457200" indent="0" algn="l">
              <a:buNone/>
              <a:defRPr sz="1700" b="0" i="0">
                <a:latin typeface="Innogy" panose="020B0503040000020003" pitchFamily="34" charset="0"/>
              </a:defRPr>
            </a:lvl2pPr>
            <a:lvl3pPr marL="914400" indent="0" algn="l">
              <a:buNone/>
              <a:defRPr sz="1700" b="0" i="0">
                <a:latin typeface="Innogy" panose="020B0503040000020003" pitchFamily="34" charset="0"/>
              </a:defRPr>
            </a:lvl3pPr>
            <a:lvl4pPr marL="1371600" indent="0" algn="l">
              <a:buNone/>
              <a:defRPr sz="1700" b="0" i="0">
                <a:latin typeface="Innogy" panose="020B0503040000020003" pitchFamily="34" charset="0"/>
              </a:defRPr>
            </a:lvl4pPr>
            <a:lvl5pPr marL="1828800" indent="0" algn="l">
              <a:buNone/>
              <a:defRPr sz="1700" b="0" i="0">
                <a:latin typeface="Innogy" panose="020B0503040000020003" pitchFamily="34" charset="0"/>
              </a:defRPr>
            </a:lvl5pPr>
          </a:lstStyle>
          <a:p>
            <a:pPr lvl="0"/>
            <a:r>
              <a:rPr lang="en-GB"/>
              <a:t>2025</a:t>
            </a:r>
            <a:endParaRPr lang="de-DE"/>
          </a:p>
        </p:txBody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344D34AA-75FD-29CD-B8C1-41C813A3751A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5471399" y="2006086"/>
            <a:ext cx="1246725" cy="1250388"/>
          </a:xfrm>
          <a:custGeom>
            <a:avLst/>
            <a:gdLst>
              <a:gd name="connsiteX0" fmla="*/ 625194 w 1246725"/>
              <a:gd name="connsiteY0" fmla="*/ 0 h 1250388"/>
              <a:gd name="connsiteX1" fmla="*/ 1237686 w 1246725"/>
              <a:gd name="connsiteY1" fmla="*/ 499196 h 1250388"/>
              <a:gd name="connsiteX2" fmla="*/ 1246725 w 1246725"/>
              <a:gd name="connsiteY2" fmla="*/ 588858 h 1250388"/>
              <a:gd name="connsiteX3" fmla="*/ 1246725 w 1246725"/>
              <a:gd name="connsiteY3" fmla="*/ 661530 h 1250388"/>
              <a:gd name="connsiteX4" fmla="*/ 1237686 w 1246725"/>
              <a:gd name="connsiteY4" fmla="*/ 751192 h 1250388"/>
              <a:gd name="connsiteX5" fmla="*/ 625194 w 1246725"/>
              <a:gd name="connsiteY5" fmla="*/ 1250388 h 1250388"/>
              <a:gd name="connsiteX6" fmla="*/ 0 w 1246725"/>
              <a:gd name="connsiteY6" fmla="*/ 625194 h 1250388"/>
              <a:gd name="connsiteX7" fmla="*/ 625194 w 1246725"/>
              <a:gd name="connsiteY7" fmla="*/ 0 h 12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6725" h="1250388">
                <a:moveTo>
                  <a:pt x="625194" y="0"/>
                </a:moveTo>
                <a:cubicBezTo>
                  <a:pt x="927319" y="0"/>
                  <a:pt x="1179389" y="214305"/>
                  <a:pt x="1237686" y="499196"/>
                </a:cubicBezTo>
                <a:lnTo>
                  <a:pt x="1246725" y="588858"/>
                </a:lnTo>
                <a:lnTo>
                  <a:pt x="1246725" y="661530"/>
                </a:lnTo>
                <a:lnTo>
                  <a:pt x="1237686" y="751192"/>
                </a:lnTo>
                <a:cubicBezTo>
                  <a:pt x="1179389" y="1036083"/>
                  <a:pt x="927319" y="1250388"/>
                  <a:pt x="625194" y="1250388"/>
                </a:cubicBezTo>
                <a:cubicBezTo>
                  <a:pt x="279909" y="1250388"/>
                  <a:pt x="0" y="970479"/>
                  <a:pt x="0" y="625194"/>
                </a:cubicBezTo>
                <a:cubicBezTo>
                  <a:pt x="0" y="279909"/>
                  <a:pt x="279909" y="0"/>
                  <a:pt x="625194" y="0"/>
                </a:cubicBezTo>
                <a:close/>
              </a:path>
            </a:pathLst>
          </a:custGeom>
          <a:solidFill>
            <a:srgbClr val="DDDBDA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840D68C6-BBEF-D705-7F69-F80D7C582A8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957" y="3455183"/>
            <a:ext cx="1767142" cy="36021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 b="0" i="1">
                <a:solidFill>
                  <a:srgbClr val="000000"/>
                </a:solidFill>
                <a:latin typeface="+mj-lt"/>
              </a:defRPr>
            </a:lvl1pPr>
            <a:lvl2pPr marL="457200" indent="0" algn="l">
              <a:buNone/>
              <a:defRPr sz="1700" b="0" i="0">
                <a:latin typeface="Innogy" panose="020B0503040000020003" pitchFamily="34" charset="0"/>
              </a:defRPr>
            </a:lvl2pPr>
            <a:lvl3pPr marL="914400" indent="0" algn="l">
              <a:buNone/>
              <a:defRPr sz="1700" b="0" i="0">
                <a:latin typeface="Innogy" panose="020B0503040000020003" pitchFamily="34" charset="0"/>
              </a:defRPr>
            </a:lvl3pPr>
            <a:lvl4pPr marL="1371600" indent="0" algn="l">
              <a:buNone/>
              <a:defRPr sz="1700" b="0" i="0">
                <a:latin typeface="Innogy" panose="020B0503040000020003" pitchFamily="34" charset="0"/>
              </a:defRPr>
            </a:lvl4pPr>
            <a:lvl5pPr marL="1828800" indent="0" algn="l">
              <a:buNone/>
              <a:defRPr sz="1700" b="0" i="0">
                <a:latin typeface="Innogy" panose="020B0503040000020003" pitchFamily="34" charset="0"/>
              </a:defRPr>
            </a:lvl5pPr>
          </a:lstStyle>
          <a:p>
            <a:pPr lvl="0"/>
            <a:r>
              <a:rPr lang="en-GB"/>
              <a:t>2025</a:t>
            </a:r>
            <a:endParaRPr lang="de-DE"/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8CE3C5E0-D004-6A23-7729-B6732D4F0E89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442467" y="2006086"/>
            <a:ext cx="1246725" cy="1250388"/>
          </a:xfrm>
          <a:custGeom>
            <a:avLst/>
            <a:gdLst>
              <a:gd name="connsiteX0" fmla="*/ 625194 w 1246725"/>
              <a:gd name="connsiteY0" fmla="*/ 0 h 1250388"/>
              <a:gd name="connsiteX1" fmla="*/ 1237686 w 1246725"/>
              <a:gd name="connsiteY1" fmla="*/ 499196 h 1250388"/>
              <a:gd name="connsiteX2" fmla="*/ 1246725 w 1246725"/>
              <a:gd name="connsiteY2" fmla="*/ 588858 h 1250388"/>
              <a:gd name="connsiteX3" fmla="*/ 1246725 w 1246725"/>
              <a:gd name="connsiteY3" fmla="*/ 661530 h 1250388"/>
              <a:gd name="connsiteX4" fmla="*/ 1237686 w 1246725"/>
              <a:gd name="connsiteY4" fmla="*/ 751192 h 1250388"/>
              <a:gd name="connsiteX5" fmla="*/ 625194 w 1246725"/>
              <a:gd name="connsiteY5" fmla="*/ 1250388 h 1250388"/>
              <a:gd name="connsiteX6" fmla="*/ 0 w 1246725"/>
              <a:gd name="connsiteY6" fmla="*/ 625194 h 1250388"/>
              <a:gd name="connsiteX7" fmla="*/ 625194 w 1246725"/>
              <a:gd name="connsiteY7" fmla="*/ 0 h 12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6725" h="1250388">
                <a:moveTo>
                  <a:pt x="625194" y="0"/>
                </a:moveTo>
                <a:cubicBezTo>
                  <a:pt x="927319" y="0"/>
                  <a:pt x="1179389" y="214305"/>
                  <a:pt x="1237686" y="499196"/>
                </a:cubicBezTo>
                <a:lnTo>
                  <a:pt x="1246725" y="588858"/>
                </a:lnTo>
                <a:lnTo>
                  <a:pt x="1246725" y="661530"/>
                </a:lnTo>
                <a:lnTo>
                  <a:pt x="1237686" y="751192"/>
                </a:lnTo>
                <a:cubicBezTo>
                  <a:pt x="1179389" y="1036083"/>
                  <a:pt x="927319" y="1250388"/>
                  <a:pt x="625194" y="1250388"/>
                </a:cubicBezTo>
                <a:cubicBezTo>
                  <a:pt x="279909" y="1250388"/>
                  <a:pt x="0" y="970479"/>
                  <a:pt x="0" y="625194"/>
                </a:cubicBezTo>
                <a:cubicBezTo>
                  <a:pt x="0" y="279909"/>
                  <a:pt x="279909" y="0"/>
                  <a:pt x="625194" y="0"/>
                </a:cubicBezTo>
                <a:close/>
              </a:path>
            </a:pathLst>
          </a:custGeom>
          <a:solidFill>
            <a:srgbClr val="DDDBDA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C837B049-6AB7-E437-B122-23546311DF2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2157" y="3455183"/>
            <a:ext cx="1767142" cy="36021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 b="0" i="1">
                <a:solidFill>
                  <a:srgbClr val="000000"/>
                </a:solidFill>
                <a:latin typeface="+mj-lt"/>
              </a:defRPr>
            </a:lvl1pPr>
            <a:lvl2pPr marL="457200" indent="0" algn="l">
              <a:buNone/>
              <a:defRPr sz="1700" b="0" i="0">
                <a:latin typeface="Innogy" panose="020B0503040000020003" pitchFamily="34" charset="0"/>
              </a:defRPr>
            </a:lvl2pPr>
            <a:lvl3pPr marL="914400" indent="0" algn="l">
              <a:buNone/>
              <a:defRPr sz="1700" b="0" i="0">
                <a:latin typeface="Innogy" panose="020B0503040000020003" pitchFamily="34" charset="0"/>
              </a:defRPr>
            </a:lvl3pPr>
            <a:lvl4pPr marL="1371600" indent="0" algn="l">
              <a:buNone/>
              <a:defRPr sz="1700" b="0" i="0">
                <a:latin typeface="Innogy" panose="020B0503040000020003" pitchFamily="34" charset="0"/>
              </a:defRPr>
            </a:lvl4pPr>
            <a:lvl5pPr marL="1828800" indent="0" algn="l">
              <a:buNone/>
              <a:defRPr sz="1700" b="0" i="0">
                <a:latin typeface="Innogy" panose="020B0503040000020003" pitchFamily="34" charset="0"/>
              </a:defRPr>
            </a:lvl5pPr>
          </a:lstStyle>
          <a:p>
            <a:pPr lvl="0"/>
            <a:r>
              <a:rPr lang="en-GB"/>
              <a:t>2025</a:t>
            </a:r>
            <a:endParaRPr lang="de-DE"/>
          </a:p>
        </p:txBody>
      </p:sp>
      <p:sp>
        <p:nvSpPr>
          <p:cNvPr id="42" name="Bildplatzhalter 41">
            <a:extLst>
              <a:ext uri="{FF2B5EF4-FFF2-40B4-BE49-F238E27FC236}">
                <a16:creationId xmlns:a16="http://schemas.microsoft.com/office/drawing/2014/main" id="{69719499-1BCC-E0BC-7F80-D6DBC78E4E88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9428409" y="2006086"/>
            <a:ext cx="1246725" cy="1250388"/>
          </a:xfrm>
          <a:custGeom>
            <a:avLst/>
            <a:gdLst>
              <a:gd name="connsiteX0" fmla="*/ 625194 w 1246725"/>
              <a:gd name="connsiteY0" fmla="*/ 0 h 1250388"/>
              <a:gd name="connsiteX1" fmla="*/ 1237686 w 1246725"/>
              <a:gd name="connsiteY1" fmla="*/ 499196 h 1250388"/>
              <a:gd name="connsiteX2" fmla="*/ 1246725 w 1246725"/>
              <a:gd name="connsiteY2" fmla="*/ 588858 h 1250388"/>
              <a:gd name="connsiteX3" fmla="*/ 1246725 w 1246725"/>
              <a:gd name="connsiteY3" fmla="*/ 661530 h 1250388"/>
              <a:gd name="connsiteX4" fmla="*/ 1237686 w 1246725"/>
              <a:gd name="connsiteY4" fmla="*/ 751192 h 1250388"/>
              <a:gd name="connsiteX5" fmla="*/ 625194 w 1246725"/>
              <a:gd name="connsiteY5" fmla="*/ 1250388 h 1250388"/>
              <a:gd name="connsiteX6" fmla="*/ 0 w 1246725"/>
              <a:gd name="connsiteY6" fmla="*/ 625194 h 1250388"/>
              <a:gd name="connsiteX7" fmla="*/ 625194 w 1246725"/>
              <a:gd name="connsiteY7" fmla="*/ 0 h 12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6725" h="1250388">
                <a:moveTo>
                  <a:pt x="625194" y="0"/>
                </a:moveTo>
                <a:cubicBezTo>
                  <a:pt x="927319" y="0"/>
                  <a:pt x="1179389" y="214305"/>
                  <a:pt x="1237686" y="499196"/>
                </a:cubicBezTo>
                <a:lnTo>
                  <a:pt x="1246725" y="588858"/>
                </a:lnTo>
                <a:lnTo>
                  <a:pt x="1246725" y="661530"/>
                </a:lnTo>
                <a:lnTo>
                  <a:pt x="1237686" y="751192"/>
                </a:lnTo>
                <a:cubicBezTo>
                  <a:pt x="1179389" y="1036083"/>
                  <a:pt x="927319" y="1250388"/>
                  <a:pt x="625194" y="1250388"/>
                </a:cubicBezTo>
                <a:cubicBezTo>
                  <a:pt x="279909" y="1250388"/>
                  <a:pt x="0" y="970479"/>
                  <a:pt x="0" y="625194"/>
                </a:cubicBezTo>
                <a:cubicBezTo>
                  <a:pt x="0" y="279909"/>
                  <a:pt x="279909" y="0"/>
                  <a:pt x="625194" y="0"/>
                </a:cubicBezTo>
                <a:close/>
              </a:path>
            </a:pathLst>
          </a:custGeom>
          <a:solidFill>
            <a:srgbClr val="DDDBDA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1EB88CE3-5ED7-C252-B786-7810C05B43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069DAC8-1666-5D1B-5E96-B85D74389E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0458ED6-0929-1C21-902C-F3408944D2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66762" y="4140349"/>
            <a:ext cx="10656000" cy="105754"/>
          </a:xfrm>
          <a:custGeom>
            <a:avLst/>
            <a:gdLst>
              <a:gd name="connsiteX0" fmla="*/ 52877 w 10465779"/>
              <a:gd name="connsiteY0" fmla="*/ 0 h 105754"/>
              <a:gd name="connsiteX1" fmla="*/ 10412902 w 10465779"/>
              <a:gd name="connsiteY1" fmla="*/ 0 h 105754"/>
              <a:gd name="connsiteX2" fmla="*/ 10465779 w 10465779"/>
              <a:gd name="connsiteY2" fmla="*/ 52877 h 105754"/>
              <a:gd name="connsiteX3" fmla="*/ 10412902 w 10465779"/>
              <a:gd name="connsiteY3" fmla="*/ 105754 h 105754"/>
              <a:gd name="connsiteX4" fmla="*/ 52877 w 10465779"/>
              <a:gd name="connsiteY4" fmla="*/ 105754 h 105754"/>
              <a:gd name="connsiteX5" fmla="*/ 0 w 10465779"/>
              <a:gd name="connsiteY5" fmla="*/ 52877 h 105754"/>
              <a:gd name="connsiteX6" fmla="*/ 52877 w 10465779"/>
              <a:gd name="connsiteY6" fmla="*/ 0 h 105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65779" h="105754">
                <a:moveTo>
                  <a:pt x="52877" y="0"/>
                </a:moveTo>
                <a:lnTo>
                  <a:pt x="10412902" y="0"/>
                </a:lnTo>
                <a:cubicBezTo>
                  <a:pt x="10442105" y="0"/>
                  <a:pt x="10465779" y="23674"/>
                  <a:pt x="10465779" y="52877"/>
                </a:cubicBezTo>
                <a:cubicBezTo>
                  <a:pt x="10465779" y="82080"/>
                  <a:pt x="10442105" y="105754"/>
                  <a:pt x="10412902" y="105754"/>
                </a:cubicBezTo>
                <a:lnTo>
                  <a:pt x="52877" y="105754"/>
                </a:lnTo>
                <a:cubicBezTo>
                  <a:pt x="23674" y="105754"/>
                  <a:pt x="0" y="82080"/>
                  <a:pt x="0" y="52877"/>
                </a:cubicBezTo>
                <a:cubicBezTo>
                  <a:pt x="0" y="23674"/>
                  <a:pt x="23674" y="0"/>
                  <a:pt x="52877" y="0"/>
                </a:cubicBezTo>
                <a:close/>
              </a:path>
            </a:pathLst>
          </a:custGeom>
          <a:solidFill>
            <a:srgbClr val="6A6562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48">
            <a:extLst>
              <a:ext uri="{FF2B5EF4-FFF2-40B4-BE49-F238E27FC236}">
                <a16:creationId xmlns:a16="http://schemas.microsoft.com/office/drawing/2014/main" id="{09B4F455-A11E-2731-6801-BDA2A3F610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122229" y="3898665"/>
            <a:ext cx="36000" cy="720000"/>
          </a:xfr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50">
            <a:extLst>
              <a:ext uri="{FF2B5EF4-FFF2-40B4-BE49-F238E27FC236}">
                <a16:creationId xmlns:a16="http://schemas.microsoft.com/office/drawing/2014/main" id="{F02BC6F5-E4E7-5B1D-7CF0-12AA646B8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0229" y="4500349"/>
            <a:ext cx="360000" cy="360000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5" name="Textplatzhalter 48">
            <a:extLst>
              <a:ext uri="{FF2B5EF4-FFF2-40B4-BE49-F238E27FC236}">
                <a16:creationId xmlns:a16="http://schemas.microsoft.com/office/drawing/2014/main" id="{0D33C3DF-C4A4-6A72-C32C-10720BF64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087334" y="3898665"/>
            <a:ext cx="36000" cy="720000"/>
          </a:xfr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6" name="Textplatzhalter 50">
            <a:extLst>
              <a:ext uri="{FF2B5EF4-FFF2-40B4-BE49-F238E27FC236}">
                <a16:creationId xmlns:a16="http://schemas.microsoft.com/office/drawing/2014/main" id="{D2A3C6FD-6CE1-3485-A58D-426A445C5E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925334" y="4500349"/>
            <a:ext cx="360000" cy="360000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7" name="Textplatzhalter 50">
            <a:extLst>
              <a:ext uri="{FF2B5EF4-FFF2-40B4-BE49-F238E27FC236}">
                <a16:creationId xmlns:a16="http://schemas.microsoft.com/office/drawing/2014/main" id="{F3D6B8AD-E6D6-07FE-56B8-3324461F3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924533" y="4500349"/>
            <a:ext cx="360000" cy="360000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8" name="Textplatzhalter 48">
            <a:extLst>
              <a:ext uri="{FF2B5EF4-FFF2-40B4-BE49-F238E27FC236}">
                <a16:creationId xmlns:a16="http://schemas.microsoft.com/office/drawing/2014/main" id="{985A6CFE-5D20-5723-39CD-42A85D9B83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047830" y="3898665"/>
            <a:ext cx="36000" cy="720000"/>
          </a:xfr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9" name="Textplatzhalter 50">
            <a:extLst>
              <a:ext uri="{FF2B5EF4-FFF2-40B4-BE49-F238E27FC236}">
                <a16:creationId xmlns:a16="http://schemas.microsoft.com/office/drawing/2014/main" id="{C90730B8-8944-7CCC-E9A0-EBF5E4CCC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885830" y="4500349"/>
            <a:ext cx="360000" cy="360000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30" name="Textplatzhalter 48">
            <a:extLst>
              <a:ext uri="{FF2B5EF4-FFF2-40B4-BE49-F238E27FC236}">
                <a16:creationId xmlns:a16="http://schemas.microsoft.com/office/drawing/2014/main" id="{AAE46E37-2DC3-7DC6-1D11-F5B79B003C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0051771" y="3898665"/>
            <a:ext cx="36000" cy="720000"/>
          </a:xfr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31" name="Textplatzhalter 50">
            <a:extLst>
              <a:ext uri="{FF2B5EF4-FFF2-40B4-BE49-F238E27FC236}">
                <a16:creationId xmlns:a16="http://schemas.microsoft.com/office/drawing/2014/main" id="{D19DBFA5-A6E2-0B63-B0EB-559F1A5C88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889771" y="4500349"/>
            <a:ext cx="360000" cy="360000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32" name="Textplatzhalter 48">
            <a:extLst>
              <a:ext uri="{FF2B5EF4-FFF2-40B4-BE49-F238E27FC236}">
                <a16:creationId xmlns:a16="http://schemas.microsoft.com/office/drawing/2014/main" id="{8EC72061-A97D-8E73-918E-C9F9800070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086533" y="3898665"/>
            <a:ext cx="36000" cy="720000"/>
          </a:xfr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2D2E184-1251-70AD-7558-006464E1D19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261570" y="5070475"/>
            <a:ext cx="1762125" cy="10588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2BB16759-2948-CEF0-0D16-B3360E4C485A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3224270" y="5070475"/>
            <a:ext cx="1762125" cy="10588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0AA3AAC8-57E1-5185-BD7C-72915DBCB584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212613" y="5070475"/>
            <a:ext cx="1762125" cy="10588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0E48DEDA-B9C8-6488-09E3-DB6A54880F2C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188794" y="5070475"/>
            <a:ext cx="1762125" cy="10588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9AFD83D-E8F7-4FE1-9F0C-D027A0801DC4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7137" y="5070475"/>
            <a:ext cx="1762125" cy="10588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051AE0B-5157-F26B-96D7-A677678DAE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2404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AEC3DE8-56F2-EE16-D385-572F41BC4B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8680"/>
            <a:ext cx="8748000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7355ABE7-785E-7E1B-3259-B48A5796FF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1570" y="3455183"/>
            <a:ext cx="1767142" cy="36021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 b="0" i="1">
                <a:solidFill>
                  <a:srgbClr val="000000"/>
                </a:solidFill>
                <a:latin typeface="+mj-lt"/>
              </a:defRPr>
            </a:lvl1pPr>
            <a:lvl2pPr marL="457200" indent="0" algn="l">
              <a:buNone/>
              <a:defRPr sz="1700" b="0" i="0">
                <a:latin typeface="Innogy" panose="020B0503040000020003" pitchFamily="34" charset="0"/>
              </a:defRPr>
            </a:lvl2pPr>
            <a:lvl3pPr marL="914400" indent="0" algn="l">
              <a:buNone/>
              <a:defRPr sz="1700" b="0" i="0">
                <a:latin typeface="Innogy" panose="020B0503040000020003" pitchFamily="34" charset="0"/>
              </a:defRPr>
            </a:lvl3pPr>
            <a:lvl4pPr marL="1371600" indent="0" algn="l">
              <a:buNone/>
              <a:defRPr sz="1700" b="0" i="0">
                <a:latin typeface="Innogy" panose="020B0503040000020003" pitchFamily="34" charset="0"/>
              </a:defRPr>
            </a:lvl4pPr>
            <a:lvl5pPr marL="1828800" indent="0" algn="l">
              <a:buNone/>
              <a:defRPr sz="1700" b="0" i="0">
                <a:latin typeface="Innogy" panose="020B0503040000020003" pitchFamily="34" charset="0"/>
              </a:defRPr>
            </a:lvl5pPr>
          </a:lstStyle>
          <a:p>
            <a:pPr lvl="0"/>
            <a:r>
              <a:rPr lang="en-GB"/>
              <a:t>2025</a:t>
            </a:r>
            <a:endParaRPr lang="de-DE"/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2B7FDB7C-8F4E-B9BD-CCA6-E0B0A63DC79F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1487488" y="1989138"/>
            <a:ext cx="1306004" cy="1267336"/>
          </a:xfrm>
          <a:solidFill>
            <a:srgbClr val="DDDBDA"/>
          </a:solidFill>
        </p:spPr>
        <p:txBody>
          <a:bodyPr/>
          <a:lstStyle>
            <a:lvl1pPr>
              <a:defRPr sz="100">
                <a:solidFill>
                  <a:srgbClr val="DDDBDA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C484D861-CE54-444C-E2FD-EFC66AEF29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8557" y="3455183"/>
            <a:ext cx="1767142" cy="36021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 b="0" i="1">
                <a:solidFill>
                  <a:srgbClr val="000000"/>
                </a:solidFill>
                <a:latin typeface="+mj-lt"/>
              </a:defRPr>
            </a:lvl1pPr>
            <a:lvl2pPr marL="457200" indent="0" algn="l">
              <a:buNone/>
              <a:defRPr sz="1700" b="0" i="0">
                <a:latin typeface="Innogy" panose="020B0503040000020003" pitchFamily="34" charset="0"/>
              </a:defRPr>
            </a:lvl2pPr>
            <a:lvl3pPr marL="914400" indent="0" algn="l">
              <a:buNone/>
              <a:defRPr sz="1700" b="0" i="0">
                <a:latin typeface="Innogy" panose="020B0503040000020003" pitchFamily="34" charset="0"/>
              </a:defRPr>
            </a:lvl3pPr>
            <a:lvl4pPr marL="1371600" indent="0" algn="l">
              <a:buNone/>
              <a:defRPr sz="1700" b="0" i="0">
                <a:latin typeface="Innogy" panose="020B0503040000020003" pitchFamily="34" charset="0"/>
              </a:defRPr>
            </a:lvl4pPr>
            <a:lvl5pPr marL="1828800" indent="0" algn="l">
              <a:buNone/>
              <a:defRPr sz="1700" b="0" i="0">
                <a:latin typeface="Innogy" panose="020B0503040000020003" pitchFamily="34" charset="0"/>
              </a:defRPr>
            </a:lvl5pPr>
          </a:lstStyle>
          <a:p>
            <a:pPr lvl="0"/>
            <a:r>
              <a:rPr lang="en-GB"/>
              <a:t>2025</a:t>
            </a:r>
            <a:endParaRPr lang="de-DE"/>
          </a:p>
        </p:txBody>
      </p:sp>
      <p:sp>
        <p:nvSpPr>
          <p:cNvPr id="37" name="Bildplatzhalter 23">
            <a:extLst>
              <a:ext uri="{FF2B5EF4-FFF2-40B4-BE49-F238E27FC236}">
                <a16:creationId xmlns:a16="http://schemas.microsoft.com/office/drawing/2014/main" id="{1893BB3E-485E-86E9-735A-036ED51F81D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441711" y="1989138"/>
            <a:ext cx="1306004" cy="1267336"/>
          </a:xfrm>
          <a:solidFill>
            <a:srgbClr val="DDDBDA"/>
          </a:solidFill>
        </p:spPr>
        <p:txBody>
          <a:bodyPr/>
          <a:lstStyle>
            <a:lvl1pPr>
              <a:defRPr sz="100">
                <a:solidFill>
                  <a:srgbClr val="DDDBDA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7C8E7231-F626-45BB-E4D9-87BF53E0109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19758" y="3455183"/>
            <a:ext cx="1767142" cy="36021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 b="0" i="1">
                <a:solidFill>
                  <a:srgbClr val="000000"/>
                </a:solidFill>
                <a:latin typeface="+mj-lt"/>
              </a:defRPr>
            </a:lvl1pPr>
            <a:lvl2pPr marL="457200" indent="0" algn="l">
              <a:buNone/>
              <a:defRPr sz="1700" b="0" i="0">
                <a:latin typeface="Innogy" panose="020B0503040000020003" pitchFamily="34" charset="0"/>
              </a:defRPr>
            </a:lvl2pPr>
            <a:lvl3pPr marL="914400" indent="0" algn="l">
              <a:buNone/>
              <a:defRPr sz="1700" b="0" i="0">
                <a:latin typeface="Innogy" panose="020B0503040000020003" pitchFamily="34" charset="0"/>
              </a:defRPr>
            </a:lvl3pPr>
            <a:lvl4pPr marL="1371600" indent="0" algn="l">
              <a:buNone/>
              <a:defRPr sz="1700" b="0" i="0">
                <a:latin typeface="Innogy" panose="020B0503040000020003" pitchFamily="34" charset="0"/>
              </a:defRPr>
            </a:lvl4pPr>
            <a:lvl5pPr marL="1828800" indent="0" algn="l">
              <a:buNone/>
              <a:defRPr sz="1700" b="0" i="0">
                <a:latin typeface="Innogy" panose="020B0503040000020003" pitchFamily="34" charset="0"/>
              </a:defRPr>
            </a:lvl5pPr>
          </a:lstStyle>
          <a:p>
            <a:pPr lvl="0"/>
            <a:r>
              <a:rPr lang="en-GB"/>
              <a:t>2025</a:t>
            </a:r>
            <a:endParaRPr lang="de-DE"/>
          </a:p>
        </p:txBody>
      </p:sp>
      <p:sp>
        <p:nvSpPr>
          <p:cNvPr id="43" name="Bildplatzhalter 23">
            <a:extLst>
              <a:ext uri="{FF2B5EF4-FFF2-40B4-BE49-F238E27FC236}">
                <a16:creationId xmlns:a16="http://schemas.microsoft.com/office/drawing/2014/main" id="{D5B87944-4F8F-B333-BB70-3BEA69E5CACF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5442089" y="1989138"/>
            <a:ext cx="1306004" cy="1267336"/>
          </a:xfrm>
          <a:solidFill>
            <a:srgbClr val="DDDBDA"/>
          </a:solidFill>
        </p:spPr>
        <p:txBody>
          <a:bodyPr/>
          <a:lstStyle>
            <a:lvl1pPr>
              <a:defRPr sz="100">
                <a:solidFill>
                  <a:srgbClr val="DDDBDA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840D68C6-BBEF-D705-7F69-F80D7C582A8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957" y="3455183"/>
            <a:ext cx="1767142" cy="36021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 b="0" i="1">
                <a:solidFill>
                  <a:srgbClr val="000000"/>
                </a:solidFill>
                <a:latin typeface="+mj-lt"/>
              </a:defRPr>
            </a:lvl1pPr>
            <a:lvl2pPr marL="457200" indent="0" algn="l">
              <a:buNone/>
              <a:defRPr sz="1700" b="0" i="0">
                <a:latin typeface="Innogy" panose="020B0503040000020003" pitchFamily="34" charset="0"/>
              </a:defRPr>
            </a:lvl2pPr>
            <a:lvl3pPr marL="914400" indent="0" algn="l">
              <a:buNone/>
              <a:defRPr sz="1700" b="0" i="0">
                <a:latin typeface="Innogy" panose="020B0503040000020003" pitchFamily="34" charset="0"/>
              </a:defRPr>
            </a:lvl3pPr>
            <a:lvl4pPr marL="1371600" indent="0" algn="l">
              <a:buNone/>
              <a:defRPr sz="1700" b="0" i="0">
                <a:latin typeface="Innogy" panose="020B0503040000020003" pitchFamily="34" charset="0"/>
              </a:defRPr>
            </a:lvl4pPr>
            <a:lvl5pPr marL="1828800" indent="0" algn="l">
              <a:buNone/>
              <a:defRPr sz="1700" b="0" i="0">
                <a:latin typeface="Innogy" panose="020B0503040000020003" pitchFamily="34" charset="0"/>
              </a:defRPr>
            </a:lvl5pPr>
          </a:lstStyle>
          <a:p>
            <a:pPr lvl="0"/>
            <a:r>
              <a:rPr lang="en-GB"/>
              <a:t>2025</a:t>
            </a:r>
            <a:endParaRPr lang="de-DE"/>
          </a:p>
        </p:txBody>
      </p:sp>
      <p:sp>
        <p:nvSpPr>
          <p:cNvPr id="44" name="Bildplatzhalter 23">
            <a:extLst>
              <a:ext uri="{FF2B5EF4-FFF2-40B4-BE49-F238E27FC236}">
                <a16:creationId xmlns:a16="http://schemas.microsoft.com/office/drawing/2014/main" id="{9F6420B3-A2C8-802F-0148-5F86B758F86A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7412827" y="1989138"/>
            <a:ext cx="1306004" cy="1267336"/>
          </a:xfrm>
          <a:solidFill>
            <a:srgbClr val="DDDBDA"/>
          </a:solidFill>
        </p:spPr>
        <p:txBody>
          <a:bodyPr/>
          <a:lstStyle>
            <a:lvl1pPr>
              <a:defRPr sz="100">
                <a:solidFill>
                  <a:srgbClr val="DDDBDA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C837B049-6AB7-E437-B122-23546311DF2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2157" y="3455183"/>
            <a:ext cx="1767142" cy="36021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 b="0" i="1">
                <a:solidFill>
                  <a:srgbClr val="000000"/>
                </a:solidFill>
                <a:latin typeface="+mj-lt"/>
              </a:defRPr>
            </a:lvl1pPr>
            <a:lvl2pPr marL="457200" indent="0" algn="l">
              <a:buNone/>
              <a:defRPr sz="1700" b="0" i="0">
                <a:latin typeface="Innogy" panose="020B0503040000020003" pitchFamily="34" charset="0"/>
              </a:defRPr>
            </a:lvl2pPr>
            <a:lvl3pPr marL="914400" indent="0" algn="l">
              <a:buNone/>
              <a:defRPr sz="1700" b="0" i="0">
                <a:latin typeface="Innogy" panose="020B0503040000020003" pitchFamily="34" charset="0"/>
              </a:defRPr>
            </a:lvl3pPr>
            <a:lvl4pPr marL="1371600" indent="0" algn="l">
              <a:buNone/>
              <a:defRPr sz="1700" b="0" i="0">
                <a:latin typeface="Innogy" panose="020B0503040000020003" pitchFamily="34" charset="0"/>
              </a:defRPr>
            </a:lvl4pPr>
            <a:lvl5pPr marL="1828800" indent="0" algn="l">
              <a:buNone/>
              <a:defRPr sz="1700" b="0" i="0">
                <a:latin typeface="Innogy" panose="020B0503040000020003" pitchFamily="34" charset="0"/>
              </a:defRPr>
            </a:lvl5pPr>
          </a:lstStyle>
          <a:p>
            <a:pPr lvl="0"/>
            <a:r>
              <a:rPr lang="en-GB"/>
              <a:t>2025</a:t>
            </a:r>
            <a:endParaRPr lang="de-DE"/>
          </a:p>
        </p:txBody>
      </p:sp>
      <p:sp>
        <p:nvSpPr>
          <p:cNvPr id="45" name="Bildplatzhalter 23">
            <a:extLst>
              <a:ext uri="{FF2B5EF4-FFF2-40B4-BE49-F238E27FC236}">
                <a16:creationId xmlns:a16="http://schemas.microsoft.com/office/drawing/2014/main" id="{42291F15-BBB6-0FC5-05E1-F45399EA167D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9411540" y="1989138"/>
            <a:ext cx="1306004" cy="1267336"/>
          </a:xfrm>
          <a:solidFill>
            <a:srgbClr val="DDDBDA"/>
          </a:solidFill>
        </p:spPr>
        <p:txBody>
          <a:bodyPr/>
          <a:lstStyle>
            <a:lvl1pPr>
              <a:defRPr sz="100">
                <a:solidFill>
                  <a:srgbClr val="DDDBDA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1EB88CE3-5ED7-C252-B786-7810C05B43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069DAC8-1666-5D1B-5E96-B85D74389E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0458ED6-0929-1C21-902C-F3408944D2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66762" y="4140349"/>
            <a:ext cx="10656000" cy="105754"/>
          </a:xfrm>
          <a:custGeom>
            <a:avLst/>
            <a:gdLst>
              <a:gd name="connsiteX0" fmla="*/ 52877 w 10465779"/>
              <a:gd name="connsiteY0" fmla="*/ 0 h 105754"/>
              <a:gd name="connsiteX1" fmla="*/ 10412902 w 10465779"/>
              <a:gd name="connsiteY1" fmla="*/ 0 h 105754"/>
              <a:gd name="connsiteX2" fmla="*/ 10465779 w 10465779"/>
              <a:gd name="connsiteY2" fmla="*/ 52877 h 105754"/>
              <a:gd name="connsiteX3" fmla="*/ 10412902 w 10465779"/>
              <a:gd name="connsiteY3" fmla="*/ 105754 h 105754"/>
              <a:gd name="connsiteX4" fmla="*/ 52877 w 10465779"/>
              <a:gd name="connsiteY4" fmla="*/ 105754 h 105754"/>
              <a:gd name="connsiteX5" fmla="*/ 0 w 10465779"/>
              <a:gd name="connsiteY5" fmla="*/ 52877 h 105754"/>
              <a:gd name="connsiteX6" fmla="*/ 52877 w 10465779"/>
              <a:gd name="connsiteY6" fmla="*/ 0 h 105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65779" h="105754">
                <a:moveTo>
                  <a:pt x="52877" y="0"/>
                </a:moveTo>
                <a:lnTo>
                  <a:pt x="10412902" y="0"/>
                </a:lnTo>
                <a:cubicBezTo>
                  <a:pt x="10442105" y="0"/>
                  <a:pt x="10465779" y="23674"/>
                  <a:pt x="10465779" y="52877"/>
                </a:cubicBezTo>
                <a:cubicBezTo>
                  <a:pt x="10465779" y="82080"/>
                  <a:pt x="10442105" y="105754"/>
                  <a:pt x="10412902" y="105754"/>
                </a:cubicBezTo>
                <a:lnTo>
                  <a:pt x="52877" y="105754"/>
                </a:lnTo>
                <a:cubicBezTo>
                  <a:pt x="23674" y="105754"/>
                  <a:pt x="0" y="82080"/>
                  <a:pt x="0" y="52877"/>
                </a:cubicBezTo>
                <a:cubicBezTo>
                  <a:pt x="0" y="23674"/>
                  <a:pt x="23674" y="0"/>
                  <a:pt x="52877" y="0"/>
                </a:cubicBezTo>
                <a:close/>
              </a:path>
            </a:pathLst>
          </a:custGeom>
          <a:solidFill>
            <a:srgbClr val="6A6562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48">
            <a:extLst>
              <a:ext uri="{FF2B5EF4-FFF2-40B4-BE49-F238E27FC236}">
                <a16:creationId xmlns:a16="http://schemas.microsoft.com/office/drawing/2014/main" id="{09B4F455-A11E-2731-6801-BDA2A3F610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122229" y="3898665"/>
            <a:ext cx="36000" cy="720000"/>
          </a:xfr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50">
            <a:extLst>
              <a:ext uri="{FF2B5EF4-FFF2-40B4-BE49-F238E27FC236}">
                <a16:creationId xmlns:a16="http://schemas.microsoft.com/office/drawing/2014/main" id="{F02BC6F5-E4E7-5B1D-7CF0-12AA646B8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0229" y="4500349"/>
            <a:ext cx="360000" cy="360000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5" name="Textplatzhalter 48">
            <a:extLst>
              <a:ext uri="{FF2B5EF4-FFF2-40B4-BE49-F238E27FC236}">
                <a16:creationId xmlns:a16="http://schemas.microsoft.com/office/drawing/2014/main" id="{0D33C3DF-C4A4-6A72-C32C-10720BF64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087334" y="3898665"/>
            <a:ext cx="36000" cy="720000"/>
          </a:xfr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6" name="Textplatzhalter 50">
            <a:extLst>
              <a:ext uri="{FF2B5EF4-FFF2-40B4-BE49-F238E27FC236}">
                <a16:creationId xmlns:a16="http://schemas.microsoft.com/office/drawing/2014/main" id="{D2A3C6FD-6CE1-3485-A58D-426A445C5E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925334" y="4500349"/>
            <a:ext cx="360000" cy="360000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7" name="Textplatzhalter 50">
            <a:extLst>
              <a:ext uri="{FF2B5EF4-FFF2-40B4-BE49-F238E27FC236}">
                <a16:creationId xmlns:a16="http://schemas.microsoft.com/office/drawing/2014/main" id="{F3D6B8AD-E6D6-07FE-56B8-3324461F3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924533" y="4500349"/>
            <a:ext cx="360000" cy="360000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8" name="Textplatzhalter 48">
            <a:extLst>
              <a:ext uri="{FF2B5EF4-FFF2-40B4-BE49-F238E27FC236}">
                <a16:creationId xmlns:a16="http://schemas.microsoft.com/office/drawing/2014/main" id="{985A6CFE-5D20-5723-39CD-42A85D9B83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047830" y="3898665"/>
            <a:ext cx="36000" cy="720000"/>
          </a:xfr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9" name="Textplatzhalter 50">
            <a:extLst>
              <a:ext uri="{FF2B5EF4-FFF2-40B4-BE49-F238E27FC236}">
                <a16:creationId xmlns:a16="http://schemas.microsoft.com/office/drawing/2014/main" id="{C90730B8-8944-7CCC-E9A0-EBF5E4CCC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885830" y="4500349"/>
            <a:ext cx="360000" cy="360000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30" name="Textplatzhalter 48">
            <a:extLst>
              <a:ext uri="{FF2B5EF4-FFF2-40B4-BE49-F238E27FC236}">
                <a16:creationId xmlns:a16="http://schemas.microsoft.com/office/drawing/2014/main" id="{AAE46E37-2DC3-7DC6-1D11-F5B79B003C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0051771" y="3898665"/>
            <a:ext cx="36000" cy="720000"/>
          </a:xfr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31" name="Textplatzhalter 50">
            <a:extLst>
              <a:ext uri="{FF2B5EF4-FFF2-40B4-BE49-F238E27FC236}">
                <a16:creationId xmlns:a16="http://schemas.microsoft.com/office/drawing/2014/main" id="{D19DBFA5-A6E2-0B63-B0EB-559F1A5C88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889771" y="4500349"/>
            <a:ext cx="360000" cy="360000"/>
          </a:xfrm>
          <a:prstGeom prst="ellipse">
            <a:avLst/>
          </a:prstGeo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32" name="Textplatzhalter 48">
            <a:extLst>
              <a:ext uri="{FF2B5EF4-FFF2-40B4-BE49-F238E27FC236}">
                <a16:creationId xmlns:a16="http://schemas.microsoft.com/office/drawing/2014/main" id="{8EC72061-A97D-8E73-918E-C9F9800070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086533" y="3898665"/>
            <a:ext cx="36000" cy="720000"/>
          </a:xfrm>
          <a:solidFill>
            <a:srgbClr val="52BBB5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de-DE"/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DE95C9AB-4CDC-8D41-3934-8900F7124BE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261570" y="5070475"/>
            <a:ext cx="1762125" cy="10588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9A6B8C5-9B18-951B-4C8D-13EFE4B18234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3224270" y="5070475"/>
            <a:ext cx="1762125" cy="10588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56988A78-66B4-B39F-1FA4-2768D9D77597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212613" y="5070475"/>
            <a:ext cx="1762125" cy="10588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92CF97A1-0ECD-5489-21B3-09D4FA763AB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188794" y="5070475"/>
            <a:ext cx="1762125" cy="10588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6AA4844A-CB4E-71F9-6B17-5B2B79CC1A81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177137" y="5070475"/>
            <a:ext cx="1762125" cy="10588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F92FB40-8C65-844F-2551-0EF6AF9278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0656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E8407B6-C367-9613-33D5-35E66E8CB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22DB6B7-5143-3FD0-7E09-98AD521596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9409E5D-9305-EA7C-9F75-D119019A8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D668BC-C14E-0E64-CEB2-3335C7B916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1" y="548680"/>
            <a:ext cx="1149997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2520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 Farbe">
    <p:bg>
      <p:bgPr>
        <a:solidFill>
          <a:srgbClr val="52BB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E8407B6-C367-9613-33D5-35E66E8CB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29" y="549275"/>
            <a:ext cx="8750894" cy="91783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22DB6B7-5143-3FD0-7E09-98AD521596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61716CE-7AF7-5B7A-E081-D3A9A39EC2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B94E38E-8863-81DE-1C7F-72FF7C7199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75242" y="548680"/>
            <a:ext cx="1149995" cy="40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0209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len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ihandform 15">
            <a:extLst>
              <a:ext uri="{FF2B5EF4-FFF2-40B4-BE49-F238E27FC236}">
                <a16:creationId xmlns:a16="http://schemas.microsoft.com/office/drawing/2014/main" id="{43B01F11-AD2B-D478-4882-01764956D3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1"/>
            <a:ext cx="8880277" cy="5603831"/>
          </a:xfrm>
          <a:custGeom>
            <a:avLst/>
            <a:gdLst>
              <a:gd name="connsiteX0" fmla="*/ 0 w 8880277"/>
              <a:gd name="connsiteY0" fmla="*/ 0 h 5603831"/>
              <a:gd name="connsiteX1" fmla="*/ 8880277 w 8880277"/>
              <a:gd name="connsiteY1" fmla="*/ 0 h 5603831"/>
              <a:gd name="connsiteX2" fmla="*/ 8842440 w 8880277"/>
              <a:gd name="connsiteY2" fmla="*/ 133244 h 5603831"/>
              <a:gd name="connsiteX3" fmla="*/ 1406612 w 8880277"/>
              <a:gd name="connsiteY3" fmla="*/ 5603831 h 5603831"/>
              <a:gd name="connsiteX4" fmla="*/ 220902 w 8880277"/>
              <a:gd name="connsiteY4" fmla="*/ 5514121 h 5603831"/>
              <a:gd name="connsiteX5" fmla="*/ 0 w 8880277"/>
              <a:gd name="connsiteY5" fmla="*/ 5474672 h 5603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80277" h="5603831">
                <a:moveTo>
                  <a:pt x="0" y="0"/>
                </a:moveTo>
                <a:lnTo>
                  <a:pt x="8880277" y="0"/>
                </a:lnTo>
                <a:lnTo>
                  <a:pt x="8842440" y="133244"/>
                </a:lnTo>
                <a:cubicBezTo>
                  <a:pt x="7856661" y="3302625"/>
                  <a:pt x="4900375" y="5603831"/>
                  <a:pt x="1406612" y="5603831"/>
                </a:cubicBezTo>
                <a:cubicBezTo>
                  <a:pt x="1003486" y="5603831"/>
                  <a:pt x="607515" y="5573194"/>
                  <a:pt x="220902" y="5514121"/>
                </a:cubicBezTo>
                <a:lnTo>
                  <a:pt x="0" y="5474672"/>
                </a:ln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Freihandform 13">
            <a:extLst>
              <a:ext uri="{FF2B5EF4-FFF2-40B4-BE49-F238E27FC236}">
                <a16:creationId xmlns:a16="http://schemas.microsoft.com/office/drawing/2014/main" id="{7DE78BD9-2E83-4CD9-EEFD-C3E9933630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671778" cy="4869160"/>
          </a:xfrm>
          <a:custGeom>
            <a:avLst/>
            <a:gdLst>
              <a:gd name="connsiteX0" fmla="*/ 0 w 8671778"/>
              <a:gd name="connsiteY0" fmla="*/ 0 h 4869160"/>
              <a:gd name="connsiteX1" fmla="*/ 8671778 w 8671778"/>
              <a:gd name="connsiteY1" fmla="*/ 0 h 4869160"/>
              <a:gd name="connsiteX2" fmla="*/ 8626866 w 8671778"/>
              <a:gd name="connsiteY2" fmla="*/ 113905 h 4869160"/>
              <a:gd name="connsiteX3" fmla="*/ 1452853 w 8671778"/>
              <a:gd name="connsiteY3" fmla="*/ 4869160 h 4869160"/>
              <a:gd name="connsiteX4" fmla="*/ 267143 w 8671778"/>
              <a:gd name="connsiteY4" fmla="*/ 4779450 h 4869160"/>
              <a:gd name="connsiteX5" fmla="*/ 0 w 8671778"/>
              <a:gd name="connsiteY5" fmla="*/ 4731743 h 486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671778" h="4869160">
                <a:moveTo>
                  <a:pt x="0" y="0"/>
                </a:moveTo>
                <a:lnTo>
                  <a:pt x="8671778" y="0"/>
                </a:lnTo>
                <a:lnTo>
                  <a:pt x="8626866" y="113905"/>
                </a:lnTo>
                <a:cubicBezTo>
                  <a:pt x="7444908" y="2908369"/>
                  <a:pt x="4677865" y="4869160"/>
                  <a:pt x="1452853" y="4869160"/>
                </a:cubicBezTo>
                <a:cubicBezTo>
                  <a:pt x="1049727" y="4869160"/>
                  <a:pt x="653756" y="4838523"/>
                  <a:pt x="267143" y="4779450"/>
                </a:cubicBezTo>
                <a:lnTo>
                  <a:pt x="0" y="4731743"/>
                </a:lnTo>
                <a:close/>
              </a:path>
            </a:pathLst>
          </a:custGeom>
          <a:solidFill>
            <a:srgbClr val="7CC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Freihandform 11">
            <a:extLst>
              <a:ext uri="{FF2B5EF4-FFF2-40B4-BE49-F238E27FC236}">
                <a16:creationId xmlns:a16="http://schemas.microsoft.com/office/drawing/2014/main" id="{80D536D0-51AC-6EDF-DD41-D0918ECBEC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295654" cy="4491490"/>
          </a:xfrm>
          <a:custGeom>
            <a:avLst/>
            <a:gdLst>
              <a:gd name="connsiteX0" fmla="*/ 0 w 8295654"/>
              <a:gd name="connsiteY0" fmla="*/ 0 h 4491490"/>
              <a:gd name="connsiteX1" fmla="*/ 8295654 w 8295654"/>
              <a:gd name="connsiteY1" fmla="*/ 0 h 4491490"/>
              <a:gd name="connsiteX2" fmla="*/ 8258980 w 8295654"/>
              <a:gd name="connsiteY2" fmla="*/ 81120 h 4491490"/>
              <a:gd name="connsiteX3" fmla="*/ 1240886 w 8295654"/>
              <a:gd name="connsiteY3" fmla="*/ 4491490 h 4491490"/>
              <a:gd name="connsiteX4" fmla="*/ 55175 w 8295654"/>
              <a:gd name="connsiteY4" fmla="*/ 4401780 h 4491490"/>
              <a:gd name="connsiteX5" fmla="*/ 0 w 8295654"/>
              <a:gd name="connsiteY5" fmla="*/ 4391926 h 4491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95654" h="4491490">
                <a:moveTo>
                  <a:pt x="0" y="0"/>
                </a:moveTo>
                <a:lnTo>
                  <a:pt x="8295654" y="0"/>
                </a:lnTo>
                <a:lnTo>
                  <a:pt x="8258980" y="81120"/>
                </a:lnTo>
                <a:cubicBezTo>
                  <a:pt x="7001559" y="2690695"/>
                  <a:pt x="4331522" y="4491490"/>
                  <a:pt x="1240886" y="4491490"/>
                </a:cubicBezTo>
                <a:cubicBezTo>
                  <a:pt x="837760" y="4491490"/>
                  <a:pt x="441789" y="4460853"/>
                  <a:pt x="55175" y="4401780"/>
                </a:cubicBezTo>
                <a:lnTo>
                  <a:pt x="0" y="4391926"/>
                </a:lnTo>
                <a:close/>
              </a:path>
            </a:pathLst>
          </a:custGeom>
          <a:solidFill>
            <a:srgbClr val="52BB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Textplatzhalter 27">
            <a:extLst>
              <a:ext uri="{FF2B5EF4-FFF2-40B4-BE49-F238E27FC236}">
                <a16:creationId xmlns:a16="http://schemas.microsoft.com/office/drawing/2014/main" id="{FFDF65F9-B47A-C0F2-B2EA-4C85002BE5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0263" y="1223755"/>
            <a:ext cx="5686915" cy="140346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FontTx/>
              <a:buNone/>
              <a:defRPr sz="8000" b="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Vielen Dank</a:t>
            </a:r>
          </a:p>
        </p:txBody>
      </p:sp>
      <p:pic>
        <p:nvPicPr>
          <p:cNvPr id="5" name="Grafik 4" descr="Ein Bild, das Text, Schrift, Grafiken, Logo enthält.&#10;&#10;KI-generierte Inhalte können fehlerhaft sein.">
            <a:extLst>
              <a:ext uri="{FF2B5EF4-FFF2-40B4-BE49-F238E27FC236}">
                <a16:creationId xmlns:a16="http://schemas.microsoft.com/office/drawing/2014/main" id="{16F13C1A-DDAD-F66A-E362-EC1A87D07A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72284" y="5036179"/>
            <a:ext cx="2752954" cy="1309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4385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chart">
    <p:bg>
      <p:bgPr>
        <a:solidFill>
          <a:srgbClr val="7CCE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D8BAF48-0EC8-0B46-EADA-10B6DAD605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438107" y="2269274"/>
            <a:ext cx="5315787" cy="2527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9992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 7">
            <a:extLst>
              <a:ext uri="{FF2B5EF4-FFF2-40B4-BE49-F238E27FC236}">
                <a16:creationId xmlns:a16="http://schemas.microsoft.com/office/drawing/2014/main" id="{7A58412C-66DD-B523-B6CD-AE901B5A3F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929135" y="1"/>
            <a:ext cx="3262863" cy="2971799"/>
          </a:xfrm>
          <a:custGeom>
            <a:avLst/>
            <a:gdLst>
              <a:gd name="connsiteX0" fmla="*/ 68417 w 3429000"/>
              <a:gd name="connsiteY0" fmla="*/ 0 h 3123115"/>
              <a:gd name="connsiteX1" fmla="*/ 3429000 w 3429000"/>
              <a:gd name="connsiteY1" fmla="*/ 0 h 3123115"/>
              <a:gd name="connsiteX2" fmla="*/ 3429000 w 3429000"/>
              <a:gd name="connsiteY2" fmla="*/ 2962224 h 3123115"/>
              <a:gd name="connsiteX3" fmla="*/ 3302052 w 3429000"/>
              <a:gd name="connsiteY3" fmla="*/ 3008687 h 3123115"/>
              <a:gd name="connsiteX4" fmla="*/ 2545191 w 3429000"/>
              <a:gd name="connsiteY4" fmla="*/ 3123115 h 3123115"/>
              <a:gd name="connsiteX5" fmla="*/ 0 w 3429000"/>
              <a:gd name="connsiteY5" fmla="*/ 577924 h 3123115"/>
              <a:gd name="connsiteX6" fmla="*/ 51709 w 3429000"/>
              <a:gd name="connsiteY6" fmla="*/ 64979 h 3123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29000" h="3123115">
                <a:moveTo>
                  <a:pt x="68417" y="0"/>
                </a:moveTo>
                <a:lnTo>
                  <a:pt x="3429000" y="0"/>
                </a:lnTo>
                <a:lnTo>
                  <a:pt x="3429000" y="2962224"/>
                </a:lnTo>
                <a:lnTo>
                  <a:pt x="3302052" y="3008687"/>
                </a:lnTo>
                <a:cubicBezTo>
                  <a:pt x="3062960" y="3083054"/>
                  <a:pt x="2808755" y="3123115"/>
                  <a:pt x="2545191" y="3123115"/>
                </a:cubicBezTo>
                <a:cubicBezTo>
                  <a:pt x="1139521" y="3123115"/>
                  <a:pt x="0" y="1983594"/>
                  <a:pt x="0" y="577924"/>
                </a:cubicBezTo>
                <a:cubicBezTo>
                  <a:pt x="0" y="402215"/>
                  <a:pt x="17805" y="230665"/>
                  <a:pt x="51709" y="64979"/>
                </a:cubicBezTo>
                <a:close/>
              </a:path>
            </a:pathLst>
          </a:custGeom>
          <a:solidFill>
            <a:srgbClr val="52BB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" name="Freihandform 4">
            <a:extLst>
              <a:ext uri="{FF2B5EF4-FFF2-40B4-BE49-F238E27FC236}">
                <a16:creationId xmlns:a16="http://schemas.microsoft.com/office/drawing/2014/main" id="{8BD98EF5-EA97-2C90-F5E3-98943757C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085555" y="0"/>
            <a:ext cx="3106442" cy="2880758"/>
          </a:xfrm>
          <a:custGeom>
            <a:avLst/>
            <a:gdLst>
              <a:gd name="connsiteX0" fmla="*/ 67764 w 3264614"/>
              <a:gd name="connsiteY0" fmla="*/ 0 h 3027438"/>
              <a:gd name="connsiteX1" fmla="*/ 3264614 w 3264614"/>
              <a:gd name="connsiteY1" fmla="*/ 0 h 3027438"/>
              <a:gd name="connsiteX2" fmla="*/ 3264614 w 3264614"/>
              <a:gd name="connsiteY2" fmla="*/ 2891379 h 3027438"/>
              <a:gd name="connsiteX3" fmla="*/ 3195416 w 3264614"/>
              <a:gd name="connsiteY3" fmla="*/ 2916707 h 3027438"/>
              <a:gd name="connsiteX4" fmla="*/ 2462996 w 3264614"/>
              <a:gd name="connsiteY4" fmla="*/ 3027438 h 3027438"/>
              <a:gd name="connsiteX5" fmla="*/ 0 w 3264614"/>
              <a:gd name="connsiteY5" fmla="*/ 564440 h 3027438"/>
              <a:gd name="connsiteX6" fmla="*/ 19788 w 3264614"/>
              <a:gd name="connsiteY6" fmla="*/ 250745 h 302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64614" h="3027438">
                <a:moveTo>
                  <a:pt x="67764" y="0"/>
                </a:moveTo>
                <a:lnTo>
                  <a:pt x="3264614" y="0"/>
                </a:lnTo>
                <a:lnTo>
                  <a:pt x="3264614" y="2891379"/>
                </a:lnTo>
                <a:lnTo>
                  <a:pt x="3195416" y="2916707"/>
                </a:lnTo>
                <a:cubicBezTo>
                  <a:pt x="2964046" y="2988671"/>
                  <a:pt x="2718048" y="3027438"/>
                  <a:pt x="2462996" y="3027438"/>
                </a:cubicBezTo>
                <a:cubicBezTo>
                  <a:pt x="1102721" y="3027438"/>
                  <a:pt x="0" y="1924716"/>
                  <a:pt x="0" y="564440"/>
                </a:cubicBezTo>
                <a:cubicBezTo>
                  <a:pt x="0" y="458169"/>
                  <a:pt x="6730" y="353469"/>
                  <a:pt x="19788" y="250745"/>
                </a:cubicBez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5" name="Titel 18">
            <a:extLst>
              <a:ext uri="{FF2B5EF4-FFF2-40B4-BE49-F238E27FC236}">
                <a16:creationId xmlns:a16="http://schemas.microsoft.com/office/drawing/2014/main" id="{9FC1E302-0349-727B-C065-B5530553EE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30" y="549275"/>
            <a:ext cx="7869871" cy="917835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de-DE"/>
              <a:t>Agenda</a:t>
            </a:r>
          </a:p>
        </p:txBody>
      </p:sp>
      <p:sp>
        <p:nvSpPr>
          <p:cNvPr id="3" name="Freihandform 2">
            <a:extLst>
              <a:ext uri="{FF2B5EF4-FFF2-40B4-BE49-F238E27FC236}">
                <a16:creationId xmlns:a16="http://schemas.microsoft.com/office/drawing/2014/main" id="{D5775744-9792-191D-422D-DFCAE92DDA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441380" y="1"/>
            <a:ext cx="2750619" cy="2733493"/>
          </a:xfrm>
          <a:custGeom>
            <a:avLst/>
            <a:gdLst>
              <a:gd name="connsiteX0" fmla="*/ 153918 w 2890674"/>
              <a:gd name="connsiteY0" fmla="*/ 0 h 2872675"/>
              <a:gd name="connsiteX1" fmla="*/ 2890674 w 2890674"/>
              <a:gd name="connsiteY1" fmla="*/ 0 h 2872675"/>
              <a:gd name="connsiteX2" fmla="*/ 2890674 w 2890674"/>
              <a:gd name="connsiteY2" fmla="*/ 2712729 h 2872675"/>
              <a:gd name="connsiteX3" fmla="*/ 2710280 w 2890674"/>
              <a:gd name="connsiteY3" fmla="*/ 2778755 h 2872675"/>
              <a:gd name="connsiteX4" fmla="*/ 2089057 w 2890674"/>
              <a:gd name="connsiteY4" fmla="*/ 2872675 h 2872675"/>
              <a:gd name="connsiteX5" fmla="*/ 0 w 2890674"/>
              <a:gd name="connsiteY5" fmla="*/ 783618 h 2872675"/>
              <a:gd name="connsiteX6" fmla="*/ 126764 w 2890674"/>
              <a:gd name="connsiteY6" fmla="*/ 65330 h 2872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90674" h="2872675">
                <a:moveTo>
                  <a:pt x="153918" y="0"/>
                </a:moveTo>
                <a:lnTo>
                  <a:pt x="2890674" y="0"/>
                </a:lnTo>
                <a:lnTo>
                  <a:pt x="2890674" y="2712729"/>
                </a:lnTo>
                <a:lnTo>
                  <a:pt x="2710280" y="2778755"/>
                </a:lnTo>
                <a:cubicBezTo>
                  <a:pt x="2514036" y="2839793"/>
                  <a:pt x="2305386" y="2872675"/>
                  <a:pt x="2089057" y="2872675"/>
                </a:cubicBezTo>
                <a:cubicBezTo>
                  <a:pt x="935303" y="2872675"/>
                  <a:pt x="0" y="1937373"/>
                  <a:pt x="0" y="783618"/>
                </a:cubicBezTo>
                <a:cubicBezTo>
                  <a:pt x="0" y="531234"/>
                  <a:pt x="44756" y="289303"/>
                  <a:pt x="126764" y="65330"/>
                </a:cubicBezTo>
                <a:close/>
              </a:path>
            </a:pathLst>
          </a:custGeom>
          <a:solidFill>
            <a:srgbClr val="7CC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D508DFF-6717-5FDC-B04A-BC3C9B43B1D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66763" y="1989138"/>
            <a:ext cx="576709" cy="4140200"/>
          </a:xfrm>
        </p:spPr>
        <p:txBody>
          <a:bodyPr/>
          <a:lstStyle>
            <a:lvl1pPr>
              <a:defRPr>
                <a:solidFill>
                  <a:srgbClr val="C7D540"/>
                </a:solidFill>
              </a:defRPr>
            </a:lvl1pPr>
          </a:lstStyle>
          <a:p>
            <a:pPr lvl="0"/>
            <a:r>
              <a:rPr lang="de-DE"/>
              <a:t>XX</a:t>
            </a:r>
          </a:p>
          <a:p>
            <a:pPr lvl="0"/>
            <a:r>
              <a:rPr lang="de-DE"/>
              <a:t>XX</a:t>
            </a:r>
          </a:p>
          <a:p>
            <a:pPr lvl="0"/>
            <a:r>
              <a:rPr lang="de-DE"/>
              <a:t>XX</a:t>
            </a:r>
          </a:p>
          <a:p>
            <a:pPr lvl="0"/>
            <a:r>
              <a:rPr lang="de-DE"/>
              <a:t>XX</a:t>
            </a:r>
          </a:p>
          <a:p>
            <a:pPr lvl="0"/>
            <a:r>
              <a:rPr lang="de-DE"/>
              <a:t>XX</a:t>
            </a:r>
          </a:p>
          <a:p>
            <a:pPr lvl="0"/>
            <a:r>
              <a:rPr lang="de-DE"/>
              <a:t>XX</a:t>
            </a:r>
          </a:p>
          <a:p>
            <a:pPr lvl="0"/>
            <a:r>
              <a:rPr lang="de-DE"/>
              <a:t>XX</a:t>
            </a:r>
          </a:p>
          <a:p>
            <a:pPr lvl="0"/>
            <a:r>
              <a:rPr lang="de-DE"/>
              <a:t>XX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0D0F81E-C7E4-7093-E40A-BB7AE2B3E6B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427883" y="1989138"/>
            <a:ext cx="7214467" cy="4140200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  <a:lvl2pPr>
              <a:defRPr b="0" i="0">
                <a:solidFill>
                  <a:schemeClr val="tx1"/>
                </a:solidFill>
              </a:defRPr>
            </a:lvl2pPr>
            <a:lvl3pPr>
              <a:defRPr b="0" i="0">
                <a:solidFill>
                  <a:schemeClr val="tx1"/>
                </a:solidFill>
              </a:defRPr>
            </a:lvl3pPr>
            <a:lvl4pPr>
              <a:defRPr b="0" i="0">
                <a:solidFill>
                  <a:schemeClr val="tx1"/>
                </a:solidFill>
              </a:defRPr>
            </a:lvl4pPr>
            <a:lvl5pPr>
              <a:defRPr b="0" i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C912A2A-8A82-C8CD-4FBC-B123D5E57B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01837" y="551134"/>
            <a:ext cx="1654803" cy="78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240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9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1">
    <p:bg>
      <p:bgPr>
        <a:solidFill>
          <a:srgbClr val="52BB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49">
            <a:extLst>
              <a:ext uri="{FF2B5EF4-FFF2-40B4-BE49-F238E27FC236}">
                <a16:creationId xmlns:a16="http://schemas.microsoft.com/office/drawing/2014/main" id="{DEA75AA0-6D36-F62D-78E2-E14B18B21A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3949" y="549275"/>
            <a:ext cx="1292916" cy="339526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>
              <a:buNone/>
              <a:defRPr sz="16500" b="0" i="0">
                <a:solidFill>
                  <a:srgbClr val="FDC75F"/>
                </a:solidFill>
                <a:latin typeface="Innogy Medium" panose="020B0503040000020003" pitchFamily="34" charset="0"/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7">
            <a:extLst>
              <a:ext uri="{FF2B5EF4-FFF2-40B4-BE49-F238E27FC236}">
                <a16:creationId xmlns:a16="http://schemas.microsoft.com/office/drawing/2014/main" id="{EF20AC58-56A6-FB0E-A678-A1E9C9C35E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03172" y="549275"/>
            <a:ext cx="6902703" cy="3023702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90000"/>
              </a:lnSpc>
              <a:buNone/>
              <a:defRPr sz="4800" b="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Titel</a:t>
            </a:r>
          </a:p>
          <a:p>
            <a:pPr lvl="0"/>
            <a:r>
              <a:rPr lang="de-DE" err="1"/>
              <a:t>Kapiteltrenner</a:t>
            </a:r>
            <a:endParaRPr lang="de-DE"/>
          </a:p>
        </p:txBody>
      </p:sp>
      <p:sp>
        <p:nvSpPr>
          <p:cNvPr id="3" name="Textplatzhalter 31">
            <a:extLst>
              <a:ext uri="{FF2B5EF4-FFF2-40B4-BE49-F238E27FC236}">
                <a16:creationId xmlns:a16="http://schemas.microsoft.com/office/drawing/2014/main" id="{39C35770-2FE1-A5E7-6912-DEA3E980DB6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03172" y="3752349"/>
            <a:ext cx="6902702" cy="1331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4353D68-6F22-8CA0-C1B4-40ACE758DB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01837" y="5594400"/>
            <a:ext cx="1654803" cy="78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52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9" userDrawn="1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C16C34D-80FB-EA0E-2052-016615BB52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9469" y="1"/>
            <a:ext cx="9824406" cy="6857999"/>
          </a:xfrm>
          <a:custGeom>
            <a:avLst/>
            <a:gdLst>
              <a:gd name="connsiteX0" fmla="*/ 0 w 9824406"/>
              <a:gd name="connsiteY0" fmla="*/ 0 h 6857999"/>
              <a:gd name="connsiteX1" fmla="*/ 9303417 w 9824406"/>
              <a:gd name="connsiteY1" fmla="*/ 0 h 6857999"/>
              <a:gd name="connsiteX2" fmla="*/ 9325183 w 9824406"/>
              <a:gd name="connsiteY2" fmla="*/ 48145 h 6857999"/>
              <a:gd name="connsiteX3" fmla="*/ 9824406 w 9824406"/>
              <a:gd name="connsiteY3" fmla="*/ 2520886 h 6857999"/>
              <a:gd name="connsiteX4" fmla="*/ 8174101 w 9824406"/>
              <a:gd name="connsiteY4" fmla="*/ 6792270 h 6857999"/>
              <a:gd name="connsiteX5" fmla="*/ 8111433 w 9824406"/>
              <a:gd name="connsiteY5" fmla="*/ 6857999 h 6857999"/>
              <a:gd name="connsiteX6" fmla="*/ 0 w 982440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24406" h="6857999">
                <a:moveTo>
                  <a:pt x="0" y="0"/>
                </a:moveTo>
                <a:lnTo>
                  <a:pt x="9303417" y="0"/>
                </a:lnTo>
                <a:lnTo>
                  <a:pt x="9325183" y="48145"/>
                </a:lnTo>
                <a:cubicBezTo>
                  <a:pt x="9646645" y="808166"/>
                  <a:pt x="9824406" y="1643767"/>
                  <a:pt x="9824406" y="2520886"/>
                </a:cubicBezTo>
                <a:cubicBezTo>
                  <a:pt x="9824406" y="4165484"/>
                  <a:pt x="9199464" y="5664119"/>
                  <a:pt x="8174101" y="6792270"/>
                </a:cubicBezTo>
                <a:lnTo>
                  <a:pt x="8111433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8B7771C7-613A-4AF4-4D90-2268554C5E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9469" y="0"/>
            <a:ext cx="9346938" cy="6857999"/>
          </a:xfrm>
          <a:custGeom>
            <a:avLst/>
            <a:gdLst>
              <a:gd name="connsiteX0" fmla="*/ 0 w 9346938"/>
              <a:gd name="connsiteY0" fmla="*/ 0 h 6857999"/>
              <a:gd name="connsiteX1" fmla="*/ 9003123 w 9346938"/>
              <a:gd name="connsiteY1" fmla="*/ 0 h 6857999"/>
              <a:gd name="connsiteX2" fmla="*/ 9061335 w 9346938"/>
              <a:gd name="connsiteY2" fmla="*/ 172040 h 6857999"/>
              <a:gd name="connsiteX3" fmla="*/ 9346938 w 9346938"/>
              <a:gd name="connsiteY3" fmla="*/ 2061126 h 6857999"/>
              <a:gd name="connsiteX4" fmla="*/ 7265664 w 9346938"/>
              <a:gd name="connsiteY4" fmla="*/ 6763478 h 6857999"/>
              <a:gd name="connsiteX5" fmla="*/ 7156545 w 9346938"/>
              <a:gd name="connsiteY5" fmla="*/ 6857999 h 6857999"/>
              <a:gd name="connsiteX6" fmla="*/ 0 w 9346938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46938" h="6857999">
                <a:moveTo>
                  <a:pt x="0" y="0"/>
                </a:moveTo>
                <a:lnTo>
                  <a:pt x="9003123" y="0"/>
                </a:lnTo>
                <a:lnTo>
                  <a:pt x="9061335" y="172040"/>
                </a:lnTo>
                <a:cubicBezTo>
                  <a:pt x="9246947" y="768802"/>
                  <a:pt x="9346938" y="1403287"/>
                  <a:pt x="9346938" y="2061126"/>
                </a:cubicBezTo>
                <a:cubicBezTo>
                  <a:pt x="9346938" y="3925004"/>
                  <a:pt x="8544234" y="5601400"/>
                  <a:pt x="7265664" y="6763478"/>
                </a:cubicBezTo>
                <a:lnTo>
                  <a:pt x="7156545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7CC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983B6B91-6694-0AF9-2320-576480B045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9469" y="0"/>
            <a:ext cx="8633520" cy="6858000"/>
          </a:xfrm>
          <a:custGeom>
            <a:avLst/>
            <a:gdLst>
              <a:gd name="connsiteX0" fmla="*/ 0 w 8633520"/>
              <a:gd name="connsiteY0" fmla="*/ 0 h 6858000"/>
              <a:gd name="connsiteX1" fmla="*/ 8429621 w 8633520"/>
              <a:gd name="connsiteY1" fmla="*/ 0 h 6858000"/>
              <a:gd name="connsiteX2" fmla="*/ 8433521 w 8633520"/>
              <a:gd name="connsiteY2" fmla="*/ 13737 h 6858000"/>
              <a:gd name="connsiteX3" fmla="*/ 8633520 w 8633520"/>
              <a:gd name="connsiteY3" fmla="*/ 1601365 h 6858000"/>
              <a:gd name="connsiteX4" fmla="*/ 6081759 w 8633520"/>
              <a:gd name="connsiteY4" fmla="*/ 6691975 h 6858000"/>
              <a:gd name="connsiteX5" fmla="*/ 5848287 w 8633520"/>
              <a:gd name="connsiteY5" fmla="*/ 6858000 h 6858000"/>
              <a:gd name="connsiteX6" fmla="*/ 0 w 863352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33520" h="6858000">
                <a:moveTo>
                  <a:pt x="0" y="0"/>
                </a:moveTo>
                <a:lnTo>
                  <a:pt x="8429621" y="0"/>
                </a:lnTo>
                <a:lnTo>
                  <a:pt x="8433521" y="13737"/>
                </a:lnTo>
                <a:cubicBezTo>
                  <a:pt x="8564082" y="521185"/>
                  <a:pt x="8633520" y="1053166"/>
                  <a:pt x="8633520" y="1601365"/>
                </a:cubicBezTo>
                <a:cubicBezTo>
                  <a:pt x="8633520" y="3684523"/>
                  <a:pt x="7630835" y="5533491"/>
                  <a:pt x="6081759" y="6691975"/>
                </a:cubicBezTo>
                <a:lnTo>
                  <a:pt x="584828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52BB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9" name="Textplatzhalter 49">
            <a:extLst>
              <a:ext uri="{FF2B5EF4-FFF2-40B4-BE49-F238E27FC236}">
                <a16:creationId xmlns:a16="http://schemas.microsoft.com/office/drawing/2014/main" id="{87BD881F-5DC1-D312-0DF0-C69F116329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3949" y="549275"/>
            <a:ext cx="1292916" cy="339526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>
              <a:buNone/>
              <a:defRPr sz="16500" b="0" i="0">
                <a:solidFill>
                  <a:srgbClr val="C7D540"/>
                </a:solidFill>
                <a:latin typeface="Innogy Medium" panose="020B0503040000020003" pitchFamily="34" charset="0"/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3" name="Textplatzhalter 27">
            <a:extLst>
              <a:ext uri="{FF2B5EF4-FFF2-40B4-BE49-F238E27FC236}">
                <a16:creationId xmlns:a16="http://schemas.microsoft.com/office/drawing/2014/main" id="{1804121D-58EE-AC15-744C-C388BFAE0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03173" y="549275"/>
            <a:ext cx="6162818" cy="3023702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90000"/>
              </a:lnSpc>
              <a:buNone/>
              <a:defRPr sz="4800" b="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Titel</a:t>
            </a:r>
          </a:p>
          <a:p>
            <a:pPr lvl="0"/>
            <a:r>
              <a:rPr lang="de-DE" err="1"/>
              <a:t>Kapiteltrenner</a:t>
            </a:r>
            <a:endParaRPr lang="de-DE"/>
          </a:p>
        </p:txBody>
      </p:sp>
      <p:sp>
        <p:nvSpPr>
          <p:cNvPr id="11" name="Textplatzhalter 31">
            <a:extLst>
              <a:ext uri="{FF2B5EF4-FFF2-40B4-BE49-F238E27FC236}">
                <a16:creationId xmlns:a16="http://schemas.microsoft.com/office/drawing/2014/main" id="{61A2FC73-F59C-B9AF-82EC-473637A09A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03173" y="3752349"/>
            <a:ext cx="5471054" cy="1331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5BFF3-B612-9D28-A469-74BBE510CD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01837" y="551134"/>
            <a:ext cx="1654802" cy="78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43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9" userDrawn="1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C16C34D-80FB-EA0E-2052-016615BB52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9469" y="1"/>
            <a:ext cx="9824406" cy="6857999"/>
          </a:xfrm>
          <a:custGeom>
            <a:avLst/>
            <a:gdLst>
              <a:gd name="connsiteX0" fmla="*/ 0 w 9824406"/>
              <a:gd name="connsiteY0" fmla="*/ 0 h 6857999"/>
              <a:gd name="connsiteX1" fmla="*/ 9303417 w 9824406"/>
              <a:gd name="connsiteY1" fmla="*/ 0 h 6857999"/>
              <a:gd name="connsiteX2" fmla="*/ 9325183 w 9824406"/>
              <a:gd name="connsiteY2" fmla="*/ 48145 h 6857999"/>
              <a:gd name="connsiteX3" fmla="*/ 9824406 w 9824406"/>
              <a:gd name="connsiteY3" fmla="*/ 2520886 h 6857999"/>
              <a:gd name="connsiteX4" fmla="*/ 8174101 w 9824406"/>
              <a:gd name="connsiteY4" fmla="*/ 6792270 h 6857999"/>
              <a:gd name="connsiteX5" fmla="*/ 8111433 w 9824406"/>
              <a:gd name="connsiteY5" fmla="*/ 6857999 h 6857999"/>
              <a:gd name="connsiteX6" fmla="*/ 0 w 982440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24406" h="6857999">
                <a:moveTo>
                  <a:pt x="0" y="0"/>
                </a:moveTo>
                <a:lnTo>
                  <a:pt x="9303417" y="0"/>
                </a:lnTo>
                <a:lnTo>
                  <a:pt x="9325183" y="48145"/>
                </a:lnTo>
                <a:cubicBezTo>
                  <a:pt x="9646645" y="808166"/>
                  <a:pt x="9824406" y="1643767"/>
                  <a:pt x="9824406" y="2520886"/>
                </a:cubicBezTo>
                <a:cubicBezTo>
                  <a:pt x="9824406" y="4165484"/>
                  <a:pt x="9199464" y="5664119"/>
                  <a:pt x="8174101" y="6792270"/>
                </a:cubicBezTo>
                <a:lnTo>
                  <a:pt x="8111433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52BB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8B7771C7-613A-4AF4-4D90-2268554C5E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9469" y="0"/>
            <a:ext cx="9346938" cy="6857999"/>
          </a:xfrm>
          <a:custGeom>
            <a:avLst/>
            <a:gdLst>
              <a:gd name="connsiteX0" fmla="*/ 0 w 9346938"/>
              <a:gd name="connsiteY0" fmla="*/ 0 h 6857999"/>
              <a:gd name="connsiteX1" fmla="*/ 9003123 w 9346938"/>
              <a:gd name="connsiteY1" fmla="*/ 0 h 6857999"/>
              <a:gd name="connsiteX2" fmla="*/ 9061335 w 9346938"/>
              <a:gd name="connsiteY2" fmla="*/ 172040 h 6857999"/>
              <a:gd name="connsiteX3" fmla="*/ 9346938 w 9346938"/>
              <a:gd name="connsiteY3" fmla="*/ 2061126 h 6857999"/>
              <a:gd name="connsiteX4" fmla="*/ 7265664 w 9346938"/>
              <a:gd name="connsiteY4" fmla="*/ 6763478 h 6857999"/>
              <a:gd name="connsiteX5" fmla="*/ 7156545 w 9346938"/>
              <a:gd name="connsiteY5" fmla="*/ 6857999 h 6857999"/>
              <a:gd name="connsiteX6" fmla="*/ 0 w 9346938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46938" h="6857999">
                <a:moveTo>
                  <a:pt x="0" y="0"/>
                </a:moveTo>
                <a:lnTo>
                  <a:pt x="9003123" y="0"/>
                </a:lnTo>
                <a:lnTo>
                  <a:pt x="9061335" y="172040"/>
                </a:lnTo>
                <a:cubicBezTo>
                  <a:pt x="9246947" y="768802"/>
                  <a:pt x="9346938" y="1403287"/>
                  <a:pt x="9346938" y="2061126"/>
                </a:cubicBezTo>
                <a:cubicBezTo>
                  <a:pt x="9346938" y="3925004"/>
                  <a:pt x="8544234" y="5601400"/>
                  <a:pt x="7265664" y="6763478"/>
                </a:cubicBezTo>
                <a:lnTo>
                  <a:pt x="7156545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C7D5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983B6B91-6694-0AF9-2320-576480B045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9469" y="0"/>
            <a:ext cx="8633520" cy="6858000"/>
          </a:xfrm>
          <a:custGeom>
            <a:avLst/>
            <a:gdLst>
              <a:gd name="connsiteX0" fmla="*/ 0 w 8633520"/>
              <a:gd name="connsiteY0" fmla="*/ 0 h 6858000"/>
              <a:gd name="connsiteX1" fmla="*/ 8429621 w 8633520"/>
              <a:gd name="connsiteY1" fmla="*/ 0 h 6858000"/>
              <a:gd name="connsiteX2" fmla="*/ 8433521 w 8633520"/>
              <a:gd name="connsiteY2" fmla="*/ 13737 h 6858000"/>
              <a:gd name="connsiteX3" fmla="*/ 8633520 w 8633520"/>
              <a:gd name="connsiteY3" fmla="*/ 1601365 h 6858000"/>
              <a:gd name="connsiteX4" fmla="*/ 6081759 w 8633520"/>
              <a:gd name="connsiteY4" fmla="*/ 6691975 h 6858000"/>
              <a:gd name="connsiteX5" fmla="*/ 5848287 w 8633520"/>
              <a:gd name="connsiteY5" fmla="*/ 6858000 h 6858000"/>
              <a:gd name="connsiteX6" fmla="*/ 0 w 863352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33520" h="6858000">
                <a:moveTo>
                  <a:pt x="0" y="0"/>
                </a:moveTo>
                <a:lnTo>
                  <a:pt x="8429621" y="0"/>
                </a:lnTo>
                <a:lnTo>
                  <a:pt x="8433521" y="13737"/>
                </a:lnTo>
                <a:cubicBezTo>
                  <a:pt x="8564082" y="521185"/>
                  <a:pt x="8633520" y="1053166"/>
                  <a:pt x="8633520" y="1601365"/>
                </a:cubicBezTo>
                <a:cubicBezTo>
                  <a:pt x="8633520" y="3684523"/>
                  <a:pt x="7630835" y="5533491"/>
                  <a:pt x="6081759" y="6691975"/>
                </a:cubicBezTo>
                <a:lnTo>
                  <a:pt x="584828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7CC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9" name="Textplatzhalter 49">
            <a:extLst>
              <a:ext uri="{FF2B5EF4-FFF2-40B4-BE49-F238E27FC236}">
                <a16:creationId xmlns:a16="http://schemas.microsoft.com/office/drawing/2014/main" id="{87BD881F-5DC1-D312-0DF0-C69F116329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3949" y="549275"/>
            <a:ext cx="1292916" cy="339526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>
              <a:buNone/>
              <a:defRPr sz="16500" b="0" i="0">
                <a:solidFill>
                  <a:schemeClr val="bg1"/>
                </a:solidFill>
                <a:latin typeface="Innogy Medium" panose="020B0503040000020003" pitchFamily="34" charset="0"/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3" name="Textplatzhalter 27">
            <a:extLst>
              <a:ext uri="{FF2B5EF4-FFF2-40B4-BE49-F238E27FC236}">
                <a16:creationId xmlns:a16="http://schemas.microsoft.com/office/drawing/2014/main" id="{1804121D-58EE-AC15-744C-C388BFAE0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03173" y="549275"/>
            <a:ext cx="6162818" cy="3023702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90000"/>
              </a:lnSpc>
              <a:buNone/>
              <a:defRPr sz="4800" b="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Titel</a:t>
            </a:r>
          </a:p>
          <a:p>
            <a:pPr lvl="0"/>
            <a:r>
              <a:rPr lang="de-DE" err="1"/>
              <a:t>Kapiteltrenner</a:t>
            </a:r>
            <a:endParaRPr lang="de-DE"/>
          </a:p>
        </p:txBody>
      </p:sp>
      <p:sp>
        <p:nvSpPr>
          <p:cNvPr id="11" name="Textplatzhalter 31">
            <a:extLst>
              <a:ext uri="{FF2B5EF4-FFF2-40B4-BE49-F238E27FC236}">
                <a16:creationId xmlns:a16="http://schemas.microsoft.com/office/drawing/2014/main" id="{61A2FC73-F59C-B9AF-82EC-473637A09A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03173" y="3752349"/>
            <a:ext cx="5471054" cy="1331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0CD25F3-5C22-2D61-D994-489332EC2D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01837" y="551134"/>
            <a:ext cx="1654802" cy="78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213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9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E814F4B8-AD93-1052-2DAD-99E656962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549275"/>
            <a:ext cx="10663641" cy="91783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9194732-9FE4-2F7E-BF2A-EF70A4C7F8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1989138"/>
            <a:ext cx="10658475" cy="4140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1F6EF0-E4C5-8005-85D7-052E1C6F8D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88855" y="6345238"/>
            <a:ext cx="213638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200" i="1">
                <a:solidFill>
                  <a:srgbClr val="000000"/>
                </a:solidFill>
                <a:latin typeface="+mn-lt"/>
              </a:defRPr>
            </a:lvl1pPr>
          </a:lstStyle>
          <a:p>
            <a:fld id="{04D100B3-F0E5-314B-8707-762A8B7A5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E8A666-B0AC-1CC5-9C7E-7C2D86A2E9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762" y="6345238"/>
            <a:ext cx="5329238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i="1">
                <a:solidFill>
                  <a:srgbClr val="000000"/>
                </a:solidFill>
              </a:defRPr>
            </a:lvl1pPr>
          </a:lstStyle>
          <a:p>
            <a:r>
              <a:rPr lang="de-DE"/>
              <a:t>Syna GmbH</a:t>
            </a:r>
          </a:p>
        </p:txBody>
      </p:sp>
    </p:spTree>
    <p:extLst>
      <p:ext uri="{BB962C8B-B14F-4D97-AF65-F5344CB8AC3E}">
        <p14:creationId xmlns:p14="http://schemas.microsoft.com/office/powerpoint/2010/main" val="1260069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20" r:id="rId2"/>
    <p:sldLayoutId id="2147483819" r:id="rId3"/>
    <p:sldLayoutId id="2147483652" r:id="rId4"/>
    <p:sldLayoutId id="2147483736" r:id="rId5"/>
    <p:sldLayoutId id="2147483845" r:id="rId6"/>
    <p:sldLayoutId id="2147483666" r:id="rId7"/>
    <p:sldLayoutId id="2147483751" r:id="rId8"/>
    <p:sldLayoutId id="2147483828" r:id="rId9"/>
    <p:sldLayoutId id="2147483830" r:id="rId10"/>
    <p:sldLayoutId id="2147483817" r:id="rId11"/>
    <p:sldLayoutId id="2147483831" r:id="rId12"/>
    <p:sldLayoutId id="2147483673" r:id="rId13"/>
    <p:sldLayoutId id="2147483832" r:id="rId14"/>
    <p:sldLayoutId id="2147483675" r:id="rId15"/>
    <p:sldLayoutId id="2147483833" r:id="rId16"/>
    <p:sldLayoutId id="2147483676" r:id="rId17"/>
    <p:sldLayoutId id="2147483834" r:id="rId18"/>
    <p:sldLayoutId id="2147483677" r:id="rId19"/>
    <p:sldLayoutId id="2147483835" r:id="rId20"/>
    <p:sldLayoutId id="2147483783" r:id="rId21"/>
    <p:sldLayoutId id="2147483680" r:id="rId22"/>
    <p:sldLayoutId id="2147483769" r:id="rId23"/>
    <p:sldLayoutId id="2147483682" r:id="rId24"/>
    <p:sldLayoutId id="2147483813" r:id="rId25"/>
    <p:sldLayoutId id="2147483814" r:id="rId26"/>
    <p:sldLayoutId id="2147483808" r:id="rId27"/>
    <p:sldLayoutId id="2147483742" r:id="rId28"/>
    <p:sldLayoutId id="2147483743" r:id="rId29"/>
    <p:sldLayoutId id="2147483694" r:id="rId30"/>
    <p:sldLayoutId id="2147483826" r:id="rId31"/>
    <p:sldLayoutId id="2147483785" r:id="rId32"/>
    <p:sldLayoutId id="2147483836" r:id="rId33"/>
    <p:sldLayoutId id="2147483806" r:id="rId34"/>
    <p:sldLayoutId id="2147483699" r:id="rId35"/>
    <p:sldLayoutId id="2147483746" r:id="rId36"/>
    <p:sldLayoutId id="2147483700" r:id="rId37"/>
    <p:sldLayoutId id="2147483786" r:id="rId38"/>
    <p:sldLayoutId id="2147483837" r:id="rId39"/>
    <p:sldLayoutId id="2147483787" r:id="rId40"/>
    <p:sldLayoutId id="2147483838" r:id="rId41"/>
    <p:sldLayoutId id="2147483792" r:id="rId42"/>
    <p:sldLayoutId id="2147483839" r:id="rId43"/>
    <p:sldLayoutId id="2147483790" r:id="rId44"/>
    <p:sldLayoutId id="2147483827" r:id="rId45"/>
    <p:sldLayoutId id="2147483793" r:id="rId46"/>
    <p:sldLayoutId id="2147483794" r:id="rId47"/>
    <p:sldLayoutId id="2147483716" r:id="rId48"/>
    <p:sldLayoutId id="2147483843" r:id="rId49"/>
    <p:sldLayoutId id="2147483844" r:id="rId50"/>
    <p:sldLayoutId id="2147483771" r:id="rId51"/>
    <p:sldLayoutId id="2147483772" r:id="rId52"/>
    <p:sldLayoutId id="2147483840" r:id="rId53"/>
    <p:sldLayoutId id="2147483841" r:id="rId54"/>
    <p:sldLayoutId id="2147483842" r:id="rId55"/>
    <p:sldLayoutId id="2147483724" r:id="rId56"/>
    <p:sldLayoutId id="2147483747" r:id="rId5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b="1" i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>
          <a:tab pos="7200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40000"/>
        <a:buFont typeface="Innogy" panose="020B0503040000020003" pitchFamily="34" charset="0"/>
        <a:buChar char="·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46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  <p15:guide id="7" pos="7197" userDrawn="1">
          <p15:clr>
            <a:srgbClr val="F26B43"/>
          </p15:clr>
        </p15:guide>
        <p15:guide id="8" pos="483" userDrawn="1">
          <p15:clr>
            <a:srgbClr val="F26B43"/>
          </p15:clr>
        </p15:guide>
        <p15:guide id="11" orient="horz" pos="1253" userDrawn="1">
          <p15:clr>
            <a:srgbClr val="F26B43"/>
          </p15:clr>
        </p15:guide>
        <p15:guide id="12" orient="horz" pos="38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22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22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microsoft.com/office/2007/relationships/hdphoto" Target="../media/hdphoto1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5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22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22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png"/><Relationship Id="rId5" Type="http://schemas.openxmlformats.org/officeDocument/2006/relationships/image" Target="../media/image52.jpeg"/><Relationship Id="rId4" Type="http://schemas.openxmlformats.org/officeDocument/2006/relationships/image" Target="../media/image22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3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11.png"/><Relationship Id="rId5" Type="http://schemas.openxmlformats.org/officeDocument/2006/relationships/hyperlink" Target="https://www.suewag.com/kommunale-waermeplanung" TargetMode="External"/><Relationship Id="rId4" Type="http://schemas.openxmlformats.org/officeDocument/2006/relationships/image" Target="../media/image53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13.jpeg"/><Relationship Id="rId5" Type="http://schemas.openxmlformats.org/officeDocument/2006/relationships/hyperlink" Target="https://www.suewag.com/kommunale-waermeplanung" TargetMode="External"/><Relationship Id="rId4" Type="http://schemas.openxmlformats.org/officeDocument/2006/relationships/image" Target="../media/image5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sv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png"/><Relationship Id="rId11" Type="http://schemas.openxmlformats.org/officeDocument/2006/relationships/image" Target="../media/image22.svg"/><Relationship Id="rId5" Type="http://schemas.openxmlformats.org/officeDocument/2006/relationships/image" Target="../media/image16.sv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22.svg"/><Relationship Id="rId3" Type="http://schemas.openxmlformats.org/officeDocument/2006/relationships/image" Target="../media/image11.png"/><Relationship Id="rId7" Type="http://schemas.openxmlformats.org/officeDocument/2006/relationships/image" Target="../media/image26.sv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5" Type="http://schemas.openxmlformats.org/officeDocument/2006/relationships/image" Target="../media/image24.sv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32.svg"/><Relationship Id="rId7" Type="http://schemas.openxmlformats.org/officeDocument/2006/relationships/image" Target="../media/image36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png"/><Relationship Id="rId5" Type="http://schemas.openxmlformats.org/officeDocument/2006/relationships/image" Target="../media/image34.svg"/><Relationship Id="rId10" Type="http://schemas.openxmlformats.org/officeDocument/2006/relationships/image" Target="../media/image11.png"/><Relationship Id="rId4" Type="http://schemas.openxmlformats.org/officeDocument/2006/relationships/image" Target="../media/image33.png"/><Relationship Id="rId9" Type="http://schemas.openxmlformats.org/officeDocument/2006/relationships/image" Target="../media/image2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13" Type="http://schemas.openxmlformats.org/officeDocument/2006/relationships/image" Target="../media/image11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22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0.svg"/><Relationship Id="rId11" Type="http://schemas.openxmlformats.org/officeDocument/2006/relationships/image" Target="../media/image21.pn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38.svg"/><Relationship Id="rId9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F45B64C-0746-3C57-5DCB-C09D0685A2BD}"/>
              </a:ext>
            </a:extLst>
          </p:cNvPr>
          <p:cNvSpPr/>
          <p:nvPr/>
        </p:nvSpPr>
        <p:spPr>
          <a:xfrm>
            <a:off x="766762" y="4555030"/>
            <a:ext cx="3727344" cy="1348340"/>
          </a:xfrm>
          <a:prstGeom prst="roundRect">
            <a:avLst>
              <a:gd name="adj" fmla="val 0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8A5E4CE-E345-B177-D8A2-2DAFA49FF5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Kommunale Wärmeplanung Gemeinde Eschelbronn</a:t>
            </a:r>
          </a:p>
          <a:p>
            <a:r>
              <a:rPr lang="de-DE" dirty="0"/>
              <a:t>Finaler Gremientermin</a:t>
            </a:r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9E192F7-1CDD-BA77-FD4B-453C5516F0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/>
              <a:t>24.03.2026</a:t>
            </a:r>
            <a:endParaRPr lang="de-DE" noProof="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1C1FB34-1A7F-E0CD-7376-4DF2F744EC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20737" y="5229200"/>
            <a:ext cx="1635904" cy="36038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CC9FA08-983C-47C3-12FC-49C1CD9336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3303" y="4673413"/>
            <a:ext cx="2494262" cy="1111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0836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668A43-A1A4-8452-8EAB-9C6D0ECB18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5F1D4E3-E24A-0B05-C403-26706F0C2E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/>
              <a:t>Eckdaten Bestands- &amp; Potentialanaly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EE70A8-3ECE-9FCB-C90B-98CDCBC2D2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noProof="0"/>
              <a:t>2</a:t>
            </a:r>
          </a:p>
        </p:txBody>
      </p:sp>
      <p:pic>
        <p:nvPicPr>
          <p:cNvPr id="5" name="Grafik 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6681BE28-8227-2E4D-A2EF-FD7C8393CD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8828" y="5085184"/>
            <a:ext cx="1672417" cy="361466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EE7194D1-3404-500D-9AA2-71D65E7C008B}"/>
              </a:ext>
            </a:extLst>
          </p:cNvPr>
          <p:cNvSpPr/>
          <p:nvPr/>
        </p:nvSpPr>
        <p:spPr>
          <a:xfrm>
            <a:off x="9020705" y="239240"/>
            <a:ext cx="2912208" cy="1172110"/>
          </a:xfrm>
          <a:prstGeom prst="roundRect">
            <a:avLst>
              <a:gd name="adj" fmla="val 16654"/>
            </a:avLst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pic>
        <p:nvPicPr>
          <p:cNvPr id="9" name="Grafik 8" descr="Ein Bild, das Text, Screenshot, Visitenkarte, Schrift enthält.&#10;&#10;KI-generierte Inhalte können fehlerhaft sein.">
            <a:extLst>
              <a:ext uri="{FF2B5EF4-FFF2-40B4-BE49-F238E27FC236}">
                <a16:creationId xmlns:a16="http://schemas.microsoft.com/office/drawing/2014/main" id="{B0D40C3E-B864-B16C-8F5C-417D7CFCCC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7977" y="4077675"/>
            <a:ext cx="1714118" cy="7154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022EE066-05F1-F8DE-3462-B62639CA6F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53609" y="458435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2928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3">
            <a:extLst>
              <a:ext uri="{FF2B5EF4-FFF2-40B4-BE49-F238E27FC236}">
                <a16:creationId xmlns:a16="http://schemas.microsoft.com/office/drawing/2014/main" id="{25E3FD95-F655-48B1-1B14-ED1267922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414" y="5147506"/>
            <a:ext cx="10678898" cy="838200"/>
          </a:xfrm>
          <a:prstGeom prst="rect">
            <a:avLst/>
          </a:prstGeom>
          <a:solidFill>
            <a:srgbClr val="009BA5"/>
          </a:solidFill>
          <a:ln>
            <a:noFill/>
          </a:ln>
        </p:spPr>
        <p:txBody>
          <a:bodyPr anchor="ctr"/>
          <a:lstStyle/>
          <a:p>
            <a:pPr marL="266700">
              <a:defRPr/>
            </a:pPr>
            <a:r>
              <a:rPr lang="de-DE" altLang="de-DE" sz="1600">
                <a:solidFill>
                  <a:prstClr val="white"/>
                </a:solidFill>
                <a:ea typeface="ＭＳ Ｐゴシック" pitchFamily="34" charset="-128"/>
              </a:rPr>
              <a:t>Übersicht </a:t>
            </a:r>
            <a:r>
              <a:rPr lang="de-DE" altLang="de-DE" sz="1600" b="1">
                <a:solidFill>
                  <a:prstClr val="white"/>
                </a:solidFill>
                <a:ea typeface="ＭＳ Ｐゴシック" pitchFamily="34" charset="-128"/>
              </a:rPr>
              <a:t>Energieinfrastruktur und </a:t>
            </a:r>
            <a:r>
              <a:rPr lang="de-DE" altLang="de-DE" sz="1600" b="1" err="1">
                <a:solidFill>
                  <a:prstClr val="white"/>
                </a:solidFill>
                <a:ea typeface="ＭＳ Ｐゴシック" pitchFamily="34" charset="-128"/>
              </a:rPr>
              <a:t>Bebauungsstrukur</a:t>
            </a:r>
            <a:endParaRPr lang="de-DE" altLang="de-DE" sz="1600" b="1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C6A97F8-54F7-C9A8-A69C-ABD7C1A26C0C}"/>
              </a:ext>
            </a:extLst>
          </p:cNvPr>
          <p:cNvSpPr/>
          <p:nvPr/>
        </p:nvSpPr>
        <p:spPr>
          <a:xfrm>
            <a:off x="10731542" y="1751678"/>
            <a:ext cx="1467293" cy="4377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D864DBB-56B1-9009-696C-00275A3E27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Zielsetzung der Bestandsanalyse</a:t>
            </a:r>
            <a:br>
              <a:rPr lang="de-DE"/>
            </a:br>
            <a:r>
              <a:rPr lang="de-DE" sz="2400"/>
              <a:t>Wieviel wird heute wie in welchen Gebäuden geheizt?</a:t>
            </a:r>
            <a:endParaRPr lang="de-DE"/>
          </a:p>
        </p:txBody>
      </p:sp>
      <p:sp>
        <p:nvSpPr>
          <p:cNvPr id="21" name="Oval 15">
            <a:extLst>
              <a:ext uri="{FF2B5EF4-FFF2-40B4-BE49-F238E27FC236}">
                <a16:creationId xmlns:a16="http://schemas.microsoft.com/office/drawing/2014/main" id="{5EEF61A2-0F84-977F-FCD0-AD2F06B938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764" y="5306257"/>
            <a:ext cx="503238" cy="503237"/>
          </a:xfrm>
          <a:prstGeom prst="ellipse">
            <a:avLst/>
          </a:prstGeom>
          <a:solidFill>
            <a:srgbClr val="FDC300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4</a:t>
            </a: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51125BBF-D64B-F68E-C7D4-FAA9607E81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7113" y="1989138"/>
            <a:ext cx="9441125" cy="838200"/>
          </a:xfrm>
          <a:prstGeom prst="rect">
            <a:avLst/>
          </a:prstGeom>
          <a:solidFill>
            <a:srgbClr val="009BA5"/>
          </a:solidFill>
          <a:ln>
            <a:noFill/>
          </a:ln>
        </p:spPr>
        <p:txBody>
          <a:bodyPr anchor="ctr"/>
          <a:lstStyle>
            <a:lvl1pPr marL="2667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1600" b="1">
                <a:solidFill>
                  <a:prstClr val="white"/>
                </a:solidFill>
                <a:latin typeface="+mn-lt"/>
              </a:rPr>
              <a:t>Quantifizierung</a:t>
            </a:r>
            <a:r>
              <a:rPr lang="de-DE" altLang="de-DE" sz="1600">
                <a:solidFill>
                  <a:prstClr val="white"/>
                </a:solidFill>
                <a:latin typeface="+mn-lt"/>
              </a:rPr>
              <a:t> und </a:t>
            </a:r>
            <a:r>
              <a:rPr lang="de-DE" altLang="de-DE" sz="1600" b="1">
                <a:solidFill>
                  <a:prstClr val="white"/>
                </a:solidFill>
                <a:latin typeface="+mn-lt"/>
              </a:rPr>
              <a:t>Bewertung der Wärmeenergiebedarfe </a:t>
            </a:r>
          </a:p>
        </p:txBody>
      </p:sp>
      <p:sp>
        <p:nvSpPr>
          <p:cNvPr id="23" name="Rectangle 11">
            <a:extLst>
              <a:ext uri="{FF2B5EF4-FFF2-40B4-BE49-F238E27FC236}">
                <a16:creationId xmlns:a16="http://schemas.microsoft.com/office/drawing/2014/main" id="{9FEADC1F-04E0-43A8-1B48-ED12C1A95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7114" y="3043238"/>
            <a:ext cx="9032269" cy="838200"/>
          </a:xfrm>
          <a:prstGeom prst="rect">
            <a:avLst/>
          </a:prstGeom>
          <a:solidFill>
            <a:srgbClr val="009BA5"/>
          </a:solidFill>
          <a:ln>
            <a:noFill/>
          </a:ln>
        </p:spPr>
        <p:txBody>
          <a:bodyPr anchor="ctr"/>
          <a:lstStyle>
            <a:lvl1pPr marL="2667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1600">
                <a:solidFill>
                  <a:prstClr val="white"/>
                </a:solidFill>
                <a:latin typeface="+mn-lt"/>
              </a:rPr>
              <a:t>Auswertung der </a:t>
            </a:r>
            <a:r>
              <a:rPr lang="de-DE" altLang="de-DE" sz="1600" b="1">
                <a:solidFill>
                  <a:prstClr val="white"/>
                </a:solidFill>
                <a:latin typeface="+mn-lt"/>
              </a:rPr>
              <a:t>dominierenden</a:t>
            </a:r>
            <a:r>
              <a:rPr lang="de-DE" altLang="de-DE" sz="1600">
                <a:solidFill>
                  <a:prstClr val="white"/>
                </a:solidFill>
                <a:latin typeface="+mn-lt"/>
              </a:rPr>
              <a:t> </a:t>
            </a:r>
            <a:r>
              <a:rPr lang="de-DE" altLang="de-DE" sz="1600" b="1">
                <a:solidFill>
                  <a:prstClr val="white"/>
                </a:solidFill>
                <a:latin typeface="+mn-lt"/>
              </a:rPr>
              <a:t>Versorgungsart</a:t>
            </a: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964C6E8D-1246-0DF0-FA2B-C8DBE131C4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414" y="4122738"/>
            <a:ext cx="9441125" cy="838200"/>
          </a:xfrm>
          <a:prstGeom prst="rect">
            <a:avLst/>
          </a:prstGeom>
          <a:solidFill>
            <a:srgbClr val="009BA5"/>
          </a:solidFill>
          <a:ln>
            <a:noFill/>
          </a:ln>
        </p:spPr>
        <p:txBody>
          <a:bodyPr anchor="ctr"/>
          <a:lstStyle/>
          <a:p>
            <a:pPr marL="266700">
              <a:defRPr/>
            </a:pPr>
            <a:r>
              <a:rPr lang="de-DE" altLang="de-DE" sz="1600">
                <a:solidFill>
                  <a:prstClr val="white"/>
                </a:solidFill>
              </a:rPr>
              <a:t>Ableitung von </a:t>
            </a:r>
            <a:r>
              <a:rPr lang="de-DE" altLang="de-DE" sz="1600" b="1">
                <a:solidFill>
                  <a:prstClr val="white"/>
                </a:solidFill>
              </a:rPr>
              <a:t>Wärmedichten und Wärmeliniendichten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9092DD2-EBF4-F546-27AB-CEACA91998E1}"/>
              </a:ext>
            </a:extLst>
          </p:cNvPr>
          <p:cNvSpPr/>
          <p:nvPr/>
        </p:nvSpPr>
        <p:spPr>
          <a:xfrm>
            <a:off x="8441652" y="1888859"/>
            <a:ext cx="3535970" cy="4488352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Tx/>
              <a:buFont typeface="Ubuntu" panose="020B0504030602030204" pitchFamily="34" charset="0"/>
              <a:buNone/>
              <a:tabLst/>
              <a:defRPr/>
            </a:pPr>
            <a:endParaRPr kumimoji="0" lang="de-DE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Oval 7">
            <a:extLst>
              <a:ext uri="{FF2B5EF4-FFF2-40B4-BE49-F238E27FC236}">
                <a16:creationId xmlns:a16="http://schemas.microsoft.com/office/drawing/2014/main" id="{8FFA216C-ED72-35F5-8A3C-3131795F7B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939" y="2151064"/>
            <a:ext cx="503238" cy="503237"/>
          </a:xfrm>
          <a:prstGeom prst="ellipse">
            <a:avLst/>
          </a:prstGeom>
          <a:solidFill>
            <a:srgbClr val="FDC300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1</a:t>
            </a:r>
          </a:p>
        </p:txBody>
      </p:sp>
      <p:sp>
        <p:nvSpPr>
          <p:cNvPr id="27" name="Oval 12">
            <a:extLst>
              <a:ext uri="{FF2B5EF4-FFF2-40B4-BE49-F238E27FC236}">
                <a16:creationId xmlns:a16="http://schemas.microsoft.com/office/drawing/2014/main" id="{6FD959ED-A206-79A3-A5E4-1A16A654A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939" y="3205164"/>
            <a:ext cx="503238" cy="503237"/>
          </a:xfrm>
          <a:prstGeom prst="ellipse">
            <a:avLst/>
          </a:prstGeom>
          <a:solidFill>
            <a:srgbClr val="FDC300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2</a:t>
            </a:r>
          </a:p>
        </p:txBody>
      </p:sp>
      <p:sp>
        <p:nvSpPr>
          <p:cNvPr id="28" name="Oval 15">
            <a:extLst>
              <a:ext uri="{FF2B5EF4-FFF2-40B4-BE49-F238E27FC236}">
                <a16:creationId xmlns:a16="http://schemas.microsoft.com/office/drawing/2014/main" id="{2E5CB3D5-80E1-043A-F583-E0FAEEBCDD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764" y="4281489"/>
            <a:ext cx="503238" cy="503237"/>
          </a:xfrm>
          <a:prstGeom prst="ellipse">
            <a:avLst/>
          </a:prstGeom>
          <a:solidFill>
            <a:srgbClr val="FDC300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3</a:t>
            </a:r>
          </a:p>
        </p:txBody>
      </p:sp>
      <p:pic>
        <p:nvPicPr>
          <p:cNvPr id="29" name="Picture 2" descr="207.800+ Fotos, Bilder und lizenzfreie Bilder zu Zielscheibe - iStock |  Zielgruppe, Strategie, Ziele">
            <a:extLst>
              <a:ext uri="{FF2B5EF4-FFF2-40B4-BE49-F238E27FC236}">
                <a16:creationId xmlns:a16="http://schemas.microsoft.com/office/drawing/2014/main" id="{7248B5FF-451D-9693-8760-2CB00CEA4C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987" b="89706" l="9804" r="93301">
                        <a14:foregroundMark x1="20915" y1="33987" x2="20915" y2="33987"/>
                        <a14:foregroundMark x1="26961" y1="33007" x2="17810" y2="43791"/>
                        <a14:foregroundMark x1="17810" y1="43791" x2="17810" y2="43791"/>
                        <a14:foregroundMark x1="38072" y1="41667" x2="31863" y2="50654"/>
                        <a14:foregroundMark x1="62908" y1="58007" x2="53922" y2="68137"/>
                        <a14:foregroundMark x1="53922" y1="68137" x2="48366" y2="70261"/>
                        <a14:foregroundMark x1="89869" y1="17484" x2="89869" y2="17484"/>
                        <a14:foregroundMark x1="83987" y1="8987" x2="83987" y2="8987"/>
                        <a14:foregroundMark x1="93301" y1="16340" x2="93301" y2="1634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169" y="2240970"/>
            <a:ext cx="3280935" cy="3280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B202D14B-D74F-AA4D-5A96-58EE46F0A7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sp>
        <p:nvSpPr>
          <p:cNvPr id="6" name="Foliennummernplatzhalter 3">
            <a:extLst>
              <a:ext uri="{FF2B5EF4-FFF2-40B4-BE49-F238E27FC236}">
                <a16:creationId xmlns:a16="http://schemas.microsoft.com/office/drawing/2014/main" id="{3EA93C72-A08B-1D51-31D4-EF9A1684FAB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288855" y="6345238"/>
            <a:ext cx="2136383" cy="184666"/>
          </a:xfrm>
        </p:spPr>
        <p:txBody>
          <a:bodyPr/>
          <a:lstStyle/>
          <a:p>
            <a:fld id="{04D100B3-F0E5-314B-8707-762A8B7A5223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50A4A389-669C-C535-AE29-0B2C663E5A7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66762" y="6345238"/>
            <a:ext cx="5329238" cy="184666"/>
          </a:xfrm>
        </p:spPr>
        <p:txBody>
          <a:bodyPr/>
          <a:lstStyle/>
          <a:p>
            <a:r>
              <a:rPr lang="de-DE"/>
              <a:t>Syna GmbH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456BEF4-78EE-09C7-B882-006C575E6E2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021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98EB15-FA11-62DB-C40E-44F929E4CB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1FB5D566-7C5E-1A24-1758-6098D85F47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950" y="2117237"/>
            <a:ext cx="5956381" cy="354581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03B30E7-5021-FA79-2C3A-C566D5D829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4970" y="2490868"/>
            <a:ext cx="5946731" cy="3327729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3D433076-E60E-9875-4A9A-4B19B09AE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rgebnisse der Bestandsanalyse</a:t>
            </a:r>
            <a:br>
              <a:rPr lang="de-DE"/>
            </a:br>
            <a:r>
              <a:rPr lang="de-DE" sz="2400"/>
              <a:t>Endenergieverbrauch Wärme nach Energieträger und Sektoren</a:t>
            </a:r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E07B80C-A8B1-9C11-E220-9C818522A941}"/>
              </a:ext>
            </a:extLst>
          </p:cNvPr>
          <p:cNvSpPr txBox="1"/>
          <p:nvPr/>
        </p:nvSpPr>
        <p:spPr>
          <a:xfrm>
            <a:off x="2585345" y="3555637"/>
            <a:ext cx="1339702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3200" b="1" dirty="0"/>
              <a:t>37,1 GWh/a</a:t>
            </a:r>
          </a:p>
        </p:txBody>
      </p:sp>
      <p:sp>
        <p:nvSpPr>
          <p:cNvPr id="17" name="Geschweifte Klammer rechts 16">
            <a:extLst>
              <a:ext uri="{FF2B5EF4-FFF2-40B4-BE49-F238E27FC236}">
                <a16:creationId xmlns:a16="http://schemas.microsoft.com/office/drawing/2014/main" id="{1AFFDDD6-3363-79DA-5DCA-56D1B4E93C4C}"/>
              </a:ext>
            </a:extLst>
          </p:cNvPr>
          <p:cNvSpPr/>
          <p:nvPr/>
        </p:nvSpPr>
        <p:spPr>
          <a:xfrm rot="5400000">
            <a:off x="1164357" y="5011383"/>
            <a:ext cx="311101" cy="1303328"/>
          </a:xfrm>
          <a:prstGeom prst="rightBrace">
            <a:avLst>
              <a:gd name="adj1" fmla="val 8333"/>
              <a:gd name="adj2" fmla="val 54411"/>
            </a:avLst>
          </a:prstGeom>
          <a:ln w="31750"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54574D40-40F9-FA03-CD54-6271315F9509}"/>
              </a:ext>
            </a:extLst>
          </p:cNvPr>
          <p:cNvSpPr/>
          <p:nvPr/>
        </p:nvSpPr>
        <p:spPr>
          <a:xfrm>
            <a:off x="842571" y="5874247"/>
            <a:ext cx="775050" cy="40890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r>
              <a:rPr lang="de-DE" sz="1400" b="1">
                <a:solidFill>
                  <a:schemeClr val="bg1"/>
                </a:solidFill>
              </a:rPr>
              <a:t>80 %</a:t>
            </a:r>
          </a:p>
        </p:txBody>
      </p:sp>
      <p:sp>
        <p:nvSpPr>
          <p:cNvPr id="19" name="Geschweifte Klammer rechts 18">
            <a:extLst>
              <a:ext uri="{FF2B5EF4-FFF2-40B4-BE49-F238E27FC236}">
                <a16:creationId xmlns:a16="http://schemas.microsoft.com/office/drawing/2014/main" id="{977132F5-82C7-9540-3D9E-0D0FD8E7CBE2}"/>
              </a:ext>
            </a:extLst>
          </p:cNvPr>
          <p:cNvSpPr/>
          <p:nvPr/>
        </p:nvSpPr>
        <p:spPr>
          <a:xfrm rot="5400000">
            <a:off x="7053155" y="4922518"/>
            <a:ext cx="311101" cy="1481061"/>
          </a:xfrm>
          <a:prstGeom prst="rightBrace">
            <a:avLst>
              <a:gd name="adj1" fmla="val 8333"/>
              <a:gd name="adj2" fmla="val 54411"/>
            </a:avLst>
          </a:prstGeom>
          <a:ln w="31750"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C7691DD8-387D-FA8D-7914-7D4AD614422F}"/>
              </a:ext>
            </a:extLst>
          </p:cNvPr>
          <p:cNvSpPr/>
          <p:nvPr/>
        </p:nvSpPr>
        <p:spPr>
          <a:xfrm>
            <a:off x="6762485" y="5874247"/>
            <a:ext cx="775050" cy="40890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r>
              <a:rPr lang="de-DE" sz="1400" b="1" dirty="0">
                <a:solidFill>
                  <a:schemeClr val="bg1"/>
                </a:solidFill>
              </a:rPr>
              <a:t>84 %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ECAC8DB-3C6D-07F4-0BE3-27C04715E0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id="{EFA425A7-B95A-FB15-2E04-EA63660F4AD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288855" y="6345238"/>
            <a:ext cx="2136383" cy="184666"/>
          </a:xfrm>
        </p:spPr>
        <p:txBody>
          <a:bodyPr/>
          <a:lstStyle/>
          <a:p>
            <a:fld id="{04D100B3-F0E5-314B-8707-762A8B7A5223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B349FE5A-ED20-E60F-51A1-217458BDBCE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66762" y="6335713"/>
            <a:ext cx="4958758" cy="184666"/>
          </a:xfrm>
        </p:spPr>
        <p:txBody>
          <a:bodyPr/>
          <a:lstStyle/>
          <a:p>
            <a:r>
              <a:rPr lang="de-DE"/>
              <a:t>Syna GmbH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65E80D2-2A0F-E6CB-F2F0-ABF9493EF0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4292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9BE2E0-870E-5D39-0A31-B1BC93652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zit der Bestandsanalyse</a:t>
            </a:r>
            <a:br>
              <a:rPr lang="de-DE"/>
            </a:br>
            <a:r>
              <a:rPr lang="de-DE" sz="2000"/>
              <a:t>Drei Erkenntnisse aus den Daten der heutigen Versorgung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AEAFB65-FFB6-CC80-8B8A-C6A710C367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C3BAC86-84BA-51ED-84ED-84EFCA85BF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55A26AE8-DB61-1B39-2F59-4CB475BED2B5}"/>
              </a:ext>
            </a:extLst>
          </p:cNvPr>
          <p:cNvSpPr/>
          <p:nvPr/>
        </p:nvSpPr>
        <p:spPr>
          <a:xfrm>
            <a:off x="1010092" y="2183586"/>
            <a:ext cx="659219" cy="65921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9C4A975A-7835-DB79-0834-B2A56C381EBE}"/>
              </a:ext>
            </a:extLst>
          </p:cNvPr>
          <p:cNvSpPr/>
          <p:nvPr/>
        </p:nvSpPr>
        <p:spPr>
          <a:xfrm>
            <a:off x="1010092" y="3576565"/>
            <a:ext cx="659219" cy="65921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90F572D4-E8ED-E152-428E-B79E3D0890D8}"/>
              </a:ext>
            </a:extLst>
          </p:cNvPr>
          <p:cNvSpPr/>
          <p:nvPr/>
        </p:nvSpPr>
        <p:spPr>
          <a:xfrm>
            <a:off x="1010092" y="4969543"/>
            <a:ext cx="659219" cy="65921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E97B663-BE9F-48FF-785B-1F17A448FD74}"/>
              </a:ext>
            </a:extLst>
          </p:cNvPr>
          <p:cNvSpPr txBox="1"/>
          <p:nvPr/>
        </p:nvSpPr>
        <p:spPr>
          <a:xfrm>
            <a:off x="1980850" y="2183586"/>
            <a:ext cx="944438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/>
              <a:t>Die Wärmeversorgung in Eschelbronn ist heute noch überwiegend </a:t>
            </a:r>
            <a:r>
              <a:rPr lang="de-DE" sz="2000" b="1" dirty="0"/>
              <a:t>fossil geprägt</a:t>
            </a:r>
            <a:r>
              <a:rPr lang="de-DE" sz="2000" dirty="0"/>
              <a:t>, der </a:t>
            </a:r>
            <a:r>
              <a:rPr lang="de-DE" sz="2000" b="1" dirty="0"/>
              <a:t>Wohnsektor</a:t>
            </a:r>
            <a:r>
              <a:rPr lang="de-DE" sz="2000" dirty="0"/>
              <a:t> macht den größten Anteil am Wärmebedarf aus.</a:t>
            </a:r>
            <a:endParaRPr lang="de-DE" sz="2000" b="1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51E1337-39A9-7E99-5842-37360B98AFF7}"/>
              </a:ext>
            </a:extLst>
          </p:cNvPr>
          <p:cNvSpPr txBox="1"/>
          <p:nvPr/>
        </p:nvSpPr>
        <p:spPr>
          <a:xfrm>
            <a:off x="1980850" y="4945210"/>
            <a:ext cx="944438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/>
              <a:t>Im </a:t>
            </a:r>
            <a:r>
              <a:rPr lang="de-DE" sz="2000" b="1" dirty="0"/>
              <a:t>Ortskern </a:t>
            </a:r>
            <a:r>
              <a:rPr lang="de-DE" sz="2000" dirty="0"/>
              <a:t>liegen hohe Wärmedichten und potenzielle </a:t>
            </a:r>
            <a:r>
              <a:rPr lang="de-DE" sz="2000" b="1" dirty="0"/>
              <a:t>Ankerkunden</a:t>
            </a:r>
            <a:r>
              <a:rPr lang="de-DE" sz="2000" dirty="0"/>
              <a:t> vor, was eine </a:t>
            </a:r>
            <a:r>
              <a:rPr lang="de-DE" sz="2000" b="1" dirty="0"/>
              <a:t>leitungsgebundene Wärmeversorgung </a:t>
            </a:r>
            <a:r>
              <a:rPr lang="de-DE" sz="2000" dirty="0"/>
              <a:t>grundsätzlich begünstigt.</a:t>
            </a:r>
            <a:endParaRPr lang="de-DE" sz="2000" b="1" dirty="0"/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6AB4DD9D-9513-414E-9526-E1C489691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323165"/>
            <a:ext cx="26481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6B1D6B8-0865-6CAD-131A-D1071731F4AD}"/>
              </a:ext>
            </a:extLst>
          </p:cNvPr>
          <p:cNvSpPr txBox="1"/>
          <p:nvPr/>
        </p:nvSpPr>
        <p:spPr>
          <a:xfrm>
            <a:off x="1980850" y="3556061"/>
            <a:ext cx="944438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dirty="0"/>
              <a:t>Heizöl </a:t>
            </a:r>
            <a:r>
              <a:rPr lang="de-DE" sz="2000" dirty="0"/>
              <a:t>und</a:t>
            </a:r>
            <a:r>
              <a:rPr lang="de-DE" sz="2000" b="1" dirty="0"/>
              <a:t> Erdgas </a:t>
            </a:r>
            <a:r>
              <a:rPr lang="de-DE" sz="2000" dirty="0"/>
              <a:t>prägen aktuell das </a:t>
            </a:r>
            <a:r>
              <a:rPr lang="de-DE" sz="2000" b="1" dirty="0"/>
              <a:t>Versorgungsbild</a:t>
            </a:r>
            <a:r>
              <a:rPr lang="de-DE" sz="2000" dirty="0"/>
              <a:t>, erneuerbare Energien sind bislang nur punktuell im Einsatz.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FD63656-5460-859C-40E9-69B965F563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9A91860-6D27-C1A8-9B97-71EAC1A9DF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5176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697192F-37E3-691E-40F9-8EB9F8ADBE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3">
            <a:extLst>
              <a:ext uri="{FF2B5EF4-FFF2-40B4-BE49-F238E27FC236}">
                <a16:creationId xmlns:a16="http://schemas.microsoft.com/office/drawing/2014/main" id="{9EE8554D-9C6B-0D6E-3C4C-D3F6FAD2BE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414" y="5147506"/>
            <a:ext cx="10678898" cy="838200"/>
          </a:xfrm>
          <a:prstGeom prst="rect">
            <a:avLst/>
          </a:prstGeom>
          <a:solidFill>
            <a:srgbClr val="009BA5"/>
          </a:solidFill>
          <a:ln>
            <a:noFill/>
          </a:ln>
        </p:spPr>
        <p:txBody>
          <a:bodyPr anchor="ctr"/>
          <a:lstStyle/>
          <a:p>
            <a:pPr marL="266700">
              <a:defRPr/>
            </a:pPr>
            <a:r>
              <a:rPr lang="de-DE" altLang="de-DE" sz="1600" b="1">
                <a:solidFill>
                  <a:prstClr val="white"/>
                </a:solidFill>
                <a:ea typeface="ＭＳ Ｐゴシック" pitchFamily="34" charset="-128"/>
              </a:rPr>
              <a:t>Schaffung</a:t>
            </a:r>
            <a:r>
              <a:rPr lang="de-DE" altLang="de-DE" sz="1600">
                <a:solidFill>
                  <a:prstClr val="white"/>
                </a:solidFill>
                <a:ea typeface="ＭＳ Ｐゴシック" pitchFamily="34" charset="-128"/>
              </a:rPr>
              <a:t> einer </a:t>
            </a:r>
            <a:r>
              <a:rPr lang="de-DE" altLang="de-DE" sz="1600" b="1">
                <a:solidFill>
                  <a:prstClr val="white"/>
                </a:solidFill>
                <a:ea typeface="ＭＳ Ｐゴシック" pitchFamily="34" charset="-128"/>
              </a:rPr>
              <a:t>Datengrundlage</a:t>
            </a:r>
            <a:r>
              <a:rPr lang="de-DE" altLang="de-DE" sz="1600">
                <a:solidFill>
                  <a:prstClr val="white"/>
                </a:solidFill>
                <a:ea typeface="ＭＳ Ｐゴシック" pitchFamily="34" charset="-128"/>
              </a:rPr>
              <a:t> für die Entwicklung möglicher Zielszenarien</a:t>
            </a:r>
            <a:endParaRPr lang="de-DE" altLang="de-DE" sz="1600" b="1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1CDEA2D-D2E4-FC40-0B03-9D1A2AE31CC4}"/>
              </a:ext>
            </a:extLst>
          </p:cNvPr>
          <p:cNvSpPr/>
          <p:nvPr/>
        </p:nvSpPr>
        <p:spPr>
          <a:xfrm>
            <a:off x="10731542" y="1751677"/>
            <a:ext cx="1467293" cy="47421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D7E7AB6-D95E-DF1D-89C8-17C86A5AB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928" y="549275"/>
            <a:ext cx="9441125" cy="917835"/>
          </a:xfrm>
        </p:spPr>
        <p:txBody>
          <a:bodyPr/>
          <a:lstStyle/>
          <a:p>
            <a:r>
              <a:rPr lang="de-DE"/>
              <a:t>Zielsetzung der Potenzialanalyse</a:t>
            </a:r>
            <a:br>
              <a:rPr lang="de-DE"/>
            </a:br>
            <a:r>
              <a:rPr lang="de-DE" sz="2400"/>
              <a:t>Welche Potenziale sind in welcher Größenordnung lokal vorhanden?</a:t>
            </a:r>
            <a:endParaRPr lang="de-DE"/>
          </a:p>
        </p:txBody>
      </p:sp>
      <p:sp>
        <p:nvSpPr>
          <p:cNvPr id="21" name="Oval 15">
            <a:extLst>
              <a:ext uri="{FF2B5EF4-FFF2-40B4-BE49-F238E27FC236}">
                <a16:creationId xmlns:a16="http://schemas.microsoft.com/office/drawing/2014/main" id="{EE4B37F9-6E97-4C29-4A15-935F9EEB6C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764" y="5306257"/>
            <a:ext cx="503238" cy="503237"/>
          </a:xfrm>
          <a:prstGeom prst="ellipse">
            <a:avLst/>
          </a:prstGeom>
          <a:solidFill>
            <a:srgbClr val="FDC300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4</a:t>
            </a: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7B99D454-9E83-A21C-F60F-C31ED5B626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7113" y="1989138"/>
            <a:ext cx="9441125" cy="838200"/>
          </a:xfrm>
          <a:prstGeom prst="rect">
            <a:avLst/>
          </a:prstGeom>
          <a:solidFill>
            <a:srgbClr val="009BA5"/>
          </a:solidFill>
          <a:ln>
            <a:noFill/>
          </a:ln>
        </p:spPr>
        <p:txBody>
          <a:bodyPr anchor="ctr"/>
          <a:lstStyle>
            <a:lvl1pPr marL="2667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1600" b="1">
                <a:solidFill>
                  <a:prstClr val="white"/>
                </a:solidFill>
                <a:latin typeface="+mn-lt"/>
              </a:rPr>
              <a:t>Erfassung </a:t>
            </a:r>
            <a:r>
              <a:rPr lang="de-DE" altLang="de-DE" sz="1600">
                <a:solidFill>
                  <a:prstClr val="white"/>
                </a:solidFill>
                <a:latin typeface="+mn-lt"/>
              </a:rPr>
              <a:t>aller möglichen erneuerbaren Wärmequellen auf dem Gemeindegebiet</a:t>
            </a:r>
          </a:p>
        </p:txBody>
      </p:sp>
      <p:sp>
        <p:nvSpPr>
          <p:cNvPr id="23" name="Rectangle 11">
            <a:extLst>
              <a:ext uri="{FF2B5EF4-FFF2-40B4-BE49-F238E27FC236}">
                <a16:creationId xmlns:a16="http://schemas.microsoft.com/office/drawing/2014/main" id="{C2FE4104-3CD0-47DD-3EA4-A6626E2CC3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7114" y="3043238"/>
            <a:ext cx="9032269" cy="838200"/>
          </a:xfrm>
          <a:prstGeom prst="rect">
            <a:avLst/>
          </a:prstGeom>
          <a:solidFill>
            <a:srgbClr val="009BA5"/>
          </a:solidFill>
          <a:ln>
            <a:noFill/>
          </a:ln>
        </p:spPr>
        <p:txBody>
          <a:bodyPr anchor="ctr"/>
          <a:lstStyle>
            <a:lvl1pPr marL="2667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1600" b="1">
                <a:solidFill>
                  <a:prstClr val="white"/>
                </a:solidFill>
                <a:latin typeface="+mn-lt"/>
              </a:rPr>
              <a:t>Bewertung </a:t>
            </a:r>
            <a:r>
              <a:rPr lang="de-DE" altLang="de-DE" sz="1600">
                <a:solidFill>
                  <a:prstClr val="white"/>
                </a:solidFill>
                <a:latin typeface="+mn-lt"/>
              </a:rPr>
              <a:t>und</a:t>
            </a:r>
            <a:r>
              <a:rPr lang="de-DE" altLang="de-DE" sz="1600" b="1">
                <a:solidFill>
                  <a:prstClr val="white"/>
                </a:solidFill>
                <a:latin typeface="+mn-lt"/>
              </a:rPr>
              <a:t> Quantifizierung</a:t>
            </a:r>
            <a:r>
              <a:rPr lang="de-DE" altLang="de-DE" sz="1600">
                <a:solidFill>
                  <a:prstClr val="white"/>
                </a:solidFill>
                <a:latin typeface="+mn-lt"/>
              </a:rPr>
              <a:t> des Einsatzpotenzials verfügbarer Wärmequellen</a:t>
            </a:r>
            <a:endParaRPr lang="de-DE" altLang="de-DE" sz="1600" b="1">
              <a:solidFill>
                <a:prstClr val="white"/>
              </a:solidFill>
              <a:latin typeface="+mn-lt"/>
            </a:endParaRP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3506774F-38A5-7CEF-0649-6F7EB3428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414" y="4122738"/>
            <a:ext cx="9441125" cy="838200"/>
          </a:xfrm>
          <a:prstGeom prst="rect">
            <a:avLst/>
          </a:prstGeom>
          <a:solidFill>
            <a:srgbClr val="009BA5"/>
          </a:solidFill>
          <a:ln>
            <a:noFill/>
          </a:ln>
        </p:spPr>
        <p:txBody>
          <a:bodyPr anchor="ctr"/>
          <a:lstStyle/>
          <a:p>
            <a:pPr marL="266700">
              <a:defRPr/>
            </a:pPr>
            <a:r>
              <a:rPr lang="de-DE" altLang="de-DE" sz="1600" b="1">
                <a:solidFill>
                  <a:prstClr val="white"/>
                </a:solidFill>
              </a:rPr>
              <a:t>Betrachtung</a:t>
            </a:r>
            <a:r>
              <a:rPr lang="de-DE" altLang="de-DE" sz="1600">
                <a:solidFill>
                  <a:prstClr val="white"/>
                </a:solidFill>
              </a:rPr>
              <a:t> sowohl von zentralen als auch dezentralen Potenzialen</a:t>
            </a:r>
            <a:endParaRPr lang="de-DE" altLang="de-DE" sz="1600" b="1">
              <a:solidFill>
                <a:prstClr val="white"/>
              </a:solidFill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B00BC4C-E926-9705-5228-3528E0667D4D}"/>
              </a:ext>
            </a:extLst>
          </p:cNvPr>
          <p:cNvSpPr/>
          <p:nvPr/>
        </p:nvSpPr>
        <p:spPr>
          <a:xfrm>
            <a:off x="8441652" y="1888859"/>
            <a:ext cx="3535970" cy="4488352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Tx/>
              <a:buFont typeface="Ubuntu" panose="020B0504030602030204" pitchFamily="34" charset="0"/>
              <a:buNone/>
              <a:tabLst/>
              <a:defRPr/>
            </a:pPr>
            <a:endParaRPr kumimoji="0" lang="de-DE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Oval 7">
            <a:extLst>
              <a:ext uri="{FF2B5EF4-FFF2-40B4-BE49-F238E27FC236}">
                <a16:creationId xmlns:a16="http://schemas.microsoft.com/office/drawing/2014/main" id="{3C9DE68B-9CCA-5FF1-2501-A9D9CD61F3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939" y="2151064"/>
            <a:ext cx="503238" cy="503237"/>
          </a:xfrm>
          <a:prstGeom prst="ellipse">
            <a:avLst/>
          </a:prstGeom>
          <a:solidFill>
            <a:srgbClr val="FDC300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1</a:t>
            </a:r>
          </a:p>
        </p:txBody>
      </p:sp>
      <p:sp>
        <p:nvSpPr>
          <p:cNvPr id="27" name="Oval 12">
            <a:extLst>
              <a:ext uri="{FF2B5EF4-FFF2-40B4-BE49-F238E27FC236}">
                <a16:creationId xmlns:a16="http://schemas.microsoft.com/office/drawing/2014/main" id="{8CEBC444-D82A-0F94-2309-9E5CABB595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939" y="3205164"/>
            <a:ext cx="503238" cy="503237"/>
          </a:xfrm>
          <a:prstGeom prst="ellipse">
            <a:avLst/>
          </a:prstGeom>
          <a:solidFill>
            <a:srgbClr val="FDC300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2</a:t>
            </a:r>
          </a:p>
        </p:txBody>
      </p:sp>
      <p:sp>
        <p:nvSpPr>
          <p:cNvPr id="28" name="Oval 15">
            <a:extLst>
              <a:ext uri="{FF2B5EF4-FFF2-40B4-BE49-F238E27FC236}">
                <a16:creationId xmlns:a16="http://schemas.microsoft.com/office/drawing/2014/main" id="{3BABE338-7C0E-8524-17B0-75AB7624EB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764" y="4281489"/>
            <a:ext cx="503238" cy="503237"/>
          </a:xfrm>
          <a:prstGeom prst="ellipse">
            <a:avLst/>
          </a:prstGeom>
          <a:solidFill>
            <a:srgbClr val="FDC300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3</a:t>
            </a:r>
          </a:p>
        </p:txBody>
      </p:sp>
      <p:pic>
        <p:nvPicPr>
          <p:cNvPr id="29" name="Picture 2" descr="207.800+ Fotos, Bilder und lizenzfreie Bilder zu Zielscheibe - iStock |  Zielgruppe, Strategie, Ziele">
            <a:extLst>
              <a:ext uri="{FF2B5EF4-FFF2-40B4-BE49-F238E27FC236}">
                <a16:creationId xmlns:a16="http://schemas.microsoft.com/office/drawing/2014/main" id="{D7E24A02-B134-0ADC-B863-1E3AE86129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987" b="89706" l="9804" r="93301">
                        <a14:foregroundMark x1="20915" y1="33987" x2="20915" y2="33987"/>
                        <a14:foregroundMark x1="26961" y1="33007" x2="17810" y2="43791"/>
                        <a14:foregroundMark x1="17810" y1="43791" x2="17810" y2="43791"/>
                        <a14:foregroundMark x1="38072" y1="41667" x2="31863" y2="50654"/>
                        <a14:foregroundMark x1="62908" y1="58007" x2="53922" y2="68137"/>
                        <a14:foregroundMark x1="53922" y1="68137" x2="48366" y2="70261"/>
                        <a14:foregroundMark x1="89869" y1="17484" x2="89869" y2="17484"/>
                        <a14:foregroundMark x1="83987" y1="8987" x2="83987" y2="8987"/>
                        <a14:foregroundMark x1="93301" y1="16340" x2="93301" y2="1634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169" y="2240970"/>
            <a:ext cx="3280935" cy="3280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ED4A8700-2019-9753-21DD-1400EE877C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24CAC28-3A84-9D97-8D8D-8C11FC6D182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288855" y="6345238"/>
            <a:ext cx="2136383" cy="184666"/>
          </a:xfrm>
        </p:spPr>
        <p:txBody>
          <a:bodyPr/>
          <a:lstStyle/>
          <a:p>
            <a:fld id="{04D100B3-F0E5-314B-8707-762A8B7A5223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A3DD39D1-64B2-3E80-3BC5-07EC1812844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66762" y="6335713"/>
            <a:ext cx="4958758" cy="184666"/>
          </a:xfrm>
        </p:spPr>
        <p:txBody>
          <a:bodyPr/>
          <a:lstStyle/>
          <a:p>
            <a:r>
              <a:rPr lang="de-DE"/>
              <a:t>Syna GmbH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AA612A9-21FD-272A-8850-4C51681CF7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0735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692148-ED22-69E5-FE7E-7CF0503676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Verschiedene Arten von Potenzialen</a:t>
            </a:r>
            <a:br>
              <a:rPr lang="de-DE"/>
            </a:br>
            <a:r>
              <a:rPr kumimoji="0" lang="de-DE" sz="2000" b="0" i="1" u="none" strike="noStrike" kern="1200" cap="none" spc="0" normalizeH="0" baseline="0" noProof="0">
                <a:ln>
                  <a:noFill/>
                </a:ln>
                <a:solidFill>
                  <a:srgbClr val="009BA4"/>
                </a:solidFill>
                <a:effectLst/>
                <a:uLnTx/>
                <a:uFillTx/>
                <a:latin typeface="Innogy Medium"/>
                <a:ea typeface="+mj-ea"/>
                <a:cs typeface="+mj-cs"/>
              </a:rPr>
              <a:t>Was kann in der Wärmeplanung geleistet werden?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F6F1A4-3212-E320-7B87-A52C4E2D1DD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ADAF4-B466-6F50-BE2F-0A7954BA2FC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EEA4215-3EBE-C582-628F-2FEC56CBF13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081"/>
          <a:stretch/>
        </p:blipFill>
        <p:spPr>
          <a:xfrm>
            <a:off x="766762" y="1361938"/>
            <a:ext cx="9389752" cy="4696738"/>
          </a:xfrm>
          <a:prstGeom prst="rect">
            <a:avLst/>
          </a:prstGeom>
        </p:spPr>
      </p:pic>
      <p:sp>
        <p:nvSpPr>
          <p:cNvPr id="8" name="Geschweifte Klammer rechts 7">
            <a:extLst>
              <a:ext uri="{FF2B5EF4-FFF2-40B4-BE49-F238E27FC236}">
                <a16:creationId xmlns:a16="http://schemas.microsoft.com/office/drawing/2014/main" id="{B3D42655-C444-8BB6-2246-3FD2FCD72F17}"/>
              </a:ext>
            </a:extLst>
          </p:cNvPr>
          <p:cNvSpPr/>
          <p:nvPr/>
        </p:nvSpPr>
        <p:spPr>
          <a:xfrm>
            <a:off x="9845413" y="2613796"/>
            <a:ext cx="311101" cy="1630406"/>
          </a:xfrm>
          <a:prstGeom prst="rightBrace">
            <a:avLst>
              <a:gd name="adj1" fmla="val 8333"/>
              <a:gd name="adj2" fmla="val 54411"/>
            </a:avLst>
          </a:prstGeom>
          <a:ln w="31750"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408B985-D22F-641F-2E9C-89BC03966D76}"/>
              </a:ext>
            </a:extLst>
          </p:cNvPr>
          <p:cNvSpPr/>
          <p:nvPr/>
        </p:nvSpPr>
        <p:spPr>
          <a:xfrm>
            <a:off x="10305288" y="3096322"/>
            <a:ext cx="1119950" cy="81165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r>
              <a:rPr lang="de-DE" sz="1400" b="1">
                <a:solidFill>
                  <a:schemeClr val="bg1"/>
                </a:solidFill>
              </a:rPr>
              <a:t>Betrachtung in der KWP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8D10EB1-AF89-1012-5D4C-542700E903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sp>
        <p:nvSpPr>
          <p:cNvPr id="9" name="Geschweifte Klammer rechts 8">
            <a:extLst>
              <a:ext uri="{FF2B5EF4-FFF2-40B4-BE49-F238E27FC236}">
                <a16:creationId xmlns:a16="http://schemas.microsoft.com/office/drawing/2014/main" id="{55104FF0-B536-FB86-5FA8-458E3BDE6168}"/>
              </a:ext>
            </a:extLst>
          </p:cNvPr>
          <p:cNvSpPr/>
          <p:nvPr/>
        </p:nvSpPr>
        <p:spPr>
          <a:xfrm>
            <a:off x="9845413" y="4355910"/>
            <a:ext cx="311101" cy="1630406"/>
          </a:xfrm>
          <a:prstGeom prst="rightBrace">
            <a:avLst>
              <a:gd name="adj1" fmla="val 8333"/>
              <a:gd name="adj2" fmla="val 54411"/>
            </a:avLst>
          </a:prstGeom>
          <a:noFill/>
          <a:ln w="31750">
            <a:solidFill>
              <a:schemeClr val="accent4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DBB2F2E6-853D-DA39-7799-22A89325ED30}"/>
              </a:ext>
            </a:extLst>
          </p:cNvPr>
          <p:cNvSpPr/>
          <p:nvPr/>
        </p:nvSpPr>
        <p:spPr>
          <a:xfrm>
            <a:off x="10305288" y="4838436"/>
            <a:ext cx="1119950" cy="81165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r>
              <a:rPr lang="de-DE" sz="1400" b="1">
                <a:solidFill>
                  <a:schemeClr val="bg1"/>
                </a:solidFill>
              </a:rPr>
              <a:t>Vertiefung in </a:t>
            </a:r>
            <a:r>
              <a:rPr lang="de-DE" sz="1400" b="1" err="1">
                <a:solidFill>
                  <a:schemeClr val="bg1"/>
                </a:solidFill>
              </a:rPr>
              <a:t>bsp.</a:t>
            </a:r>
            <a:r>
              <a:rPr lang="de-DE" sz="1400" b="1">
                <a:solidFill>
                  <a:schemeClr val="bg1"/>
                </a:solidFill>
              </a:rPr>
              <a:t> MB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1AF7F1C-5B74-4154-D498-7A9908D4D3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624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7659853-9238-21A3-A865-A0AACF187F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0AC674-82C4-EC2D-8FF1-C0B43AB01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elche Wärmequellen haben wir untersucht?</a:t>
            </a:r>
            <a:br>
              <a:rPr lang="de-DE"/>
            </a:br>
            <a:r>
              <a:rPr lang="de-DE" sz="2000"/>
              <a:t>Grundlage für die Ableitung sinnvoller Versorgungsoptionen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34E0F91-6648-2BFB-F4A4-E6530CAD8C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60B9B41-619D-505F-ECEF-57EB2D38510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2DBC61D-A8F4-BDEA-57B0-FAD06653ED9F}"/>
              </a:ext>
            </a:extLst>
          </p:cNvPr>
          <p:cNvSpPr/>
          <p:nvPr/>
        </p:nvSpPr>
        <p:spPr>
          <a:xfrm>
            <a:off x="4486193" y="5233315"/>
            <a:ext cx="3219615" cy="896023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Flusswasserwärm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0296967-7000-B771-BEA6-B8CEEF598292}"/>
              </a:ext>
            </a:extLst>
          </p:cNvPr>
          <p:cNvSpPr/>
          <p:nvPr/>
        </p:nvSpPr>
        <p:spPr>
          <a:xfrm>
            <a:off x="766759" y="2005044"/>
            <a:ext cx="3219615" cy="896023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Umgebungsluf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80140F2-0C6E-4B43-3D29-4E93BF6D235E}"/>
              </a:ext>
            </a:extLst>
          </p:cNvPr>
          <p:cNvSpPr/>
          <p:nvPr/>
        </p:nvSpPr>
        <p:spPr>
          <a:xfrm>
            <a:off x="766758" y="5224563"/>
            <a:ext cx="3219615" cy="896023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>
                <a:solidFill>
                  <a:schemeClr val="bg1"/>
                </a:solidFill>
              </a:rPr>
              <a:t>I</a:t>
            </a:r>
            <a:r>
              <a:rPr kumimoji="0" lang="de-DE" sz="20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ndustrielle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Abwärm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0DFC916-872A-14D2-5675-256E4B1DA37A}"/>
              </a:ext>
            </a:extLst>
          </p:cNvPr>
          <p:cNvSpPr/>
          <p:nvPr/>
        </p:nvSpPr>
        <p:spPr>
          <a:xfrm>
            <a:off x="4486193" y="3619940"/>
            <a:ext cx="3219615" cy="896023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Abwasserwärm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A9F52B4-21EE-2E80-E5AD-3460160E546D}"/>
              </a:ext>
            </a:extLst>
          </p:cNvPr>
          <p:cNvSpPr/>
          <p:nvPr/>
        </p:nvSpPr>
        <p:spPr>
          <a:xfrm>
            <a:off x="8205623" y="1998524"/>
            <a:ext cx="3219615" cy="896023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Geothermi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E3CABCF-E559-6117-0CD2-336762C60A19}"/>
              </a:ext>
            </a:extLst>
          </p:cNvPr>
          <p:cNvSpPr/>
          <p:nvPr/>
        </p:nvSpPr>
        <p:spPr>
          <a:xfrm>
            <a:off x="4486193" y="2006178"/>
            <a:ext cx="3219615" cy="896023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Solarthermi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3A605983-C8E8-D53F-51FB-72AA8DD8197E}"/>
              </a:ext>
            </a:extLst>
          </p:cNvPr>
          <p:cNvSpPr/>
          <p:nvPr/>
        </p:nvSpPr>
        <p:spPr>
          <a:xfrm>
            <a:off x="766763" y="3619940"/>
            <a:ext cx="3219615" cy="896023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Biomass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9F3006C-C8B1-E894-EE71-E88AEF2AD947}"/>
              </a:ext>
            </a:extLst>
          </p:cNvPr>
          <p:cNvSpPr/>
          <p:nvPr/>
        </p:nvSpPr>
        <p:spPr>
          <a:xfrm>
            <a:off x="8205619" y="3612970"/>
            <a:ext cx="3219615" cy="896023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>
                <a:solidFill>
                  <a:schemeClr val="bg1"/>
                </a:solidFill>
              </a:rPr>
              <a:t>Power-</a:t>
            </a:r>
            <a:r>
              <a:rPr lang="de-DE" sz="2000" b="1" err="1">
                <a:solidFill>
                  <a:schemeClr val="bg1"/>
                </a:solidFill>
              </a:rPr>
              <a:t>to</a:t>
            </a:r>
            <a:r>
              <a:rPr lang="de-DE" sz="2000" b="1">
                <a:solidFill>
                  <a:schemeClr val="bg1"/>
                </a:solidFill>
              </a:rPr>
              <a:t>-X (Wind&amp; PV)</a:t>
            </a: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9F6F636-0A33-6792-3359-A793642DCFD9}"/>
              </a:ext>
            </a:extLst>
          </p:cNvPr>
          <p:cNvSpPr/>
          <p:nvPr/>
        </p:nvSpPr>
        <p:spPr>
          <a:xfrm>
            <a:off x="8205623" y="5224564"/>
            <a:ext cx="3219615" cy="896023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>
                <a:solidFill>
                  <a:schemeClr val="bg1"/>
                </a:solidFill>
              </a:rPr>
              <a:t>See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wasserwärm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9594285-0E88-3EB9-61A5-55C1EA3D9A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2673AC0-BDC1-E8B8-12B8-A0A503D339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8143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7B908C-46CB-887F-B8E6-49A91E10EC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61D093B-6702-FE1E-F585-526DD606ECCC}"/>
              </a:ext>
            </a:extLst>
          </p:cNvPr>
          <p:cNvSpPr/>
          <p:nvPr/>
        </p:nvSpPr>
        <p:spPr>
          <a:xfrm>
            <a:off x="4486193" y="2006178"/>
            <a:ext cx="3219615" cy="896023"/>
          </a:xfrm>
          <a:prstGeom prst="rect">
            <a:avLst/>
          </a:prstGeom>
          <a:solidFill>
            <a:srgbClr val="F59C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365"/>
            <a:r>
              <a:rPr lang="de-DE" sz="2000" b="1" dirty="0">
                <a:solidFill>
                  <a:schemeClr val="bg1"/>
                </a:solidFill>
              </a:rPr>
              <a:t>Geothermi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B01E86C9-4A3C-8CF5-48A0-0814F76F16FC}"/>
              </a:ext>
            </a:extLst>
          </p:cNvPr>
          <p:cNvSpPr/>
          <p:nvPr/>
        </p:nvSpPr>
        <p:spPr>
          <a:xfrm>
            <a:off x="4486188" y="5234447"/>
            <a:ext cx="3219615" cy="896023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365"/>
            <a:r>
              <a:rPr lang="de-DE" sz="2000" b="1">
                <a:solidFill>
                  <a:schemeClr val="bg1"/>
                </a:solidFill>
              </a:rPr>
              <a:t>Abwasserwärm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0E08636-C930-B0DB-412A-4FD00599499E}"/>
              </a:ext>
            </a:extLst>
          </p:cNvPr>
          <p:cNvSpPr/>
          <p:nvPr/>
        </p:nvSpPr>
        <p:spPr>
          <a:xfrm>
            <a:off x="766763" y="3615369"/>
            <a:ext cx="3219615" cy="896023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365"/>
            <a:r>
              <a:rPr lang="de-DE" sz="2000" b="1">
                <a:solidFill>
                  <a:schemeClr val="bg1"/>
                </a:solidFill>
              </a:rPr>
              <a:t>Flusswasserwärm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6C371DB-8182-6083-7706-18714D6AA7F0}"/>
              </a:ext>
            </a:extLst>
          </p:cNvPr>
          <p:cNvSpPr/>
          <p:nvPr/>
        </p:nvSpPr>
        <p:spPr>
          <a:xfrm>
            <a:off x="4486188" y="3615368"/>
            <a:ext cx="3219615" cy="896023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365"/>
            <a:r>
              <a:rPr lang="de-DE" sz="2000" b="1">
                <a:solidFill>
                  <a:schemeClr val="bg1"/>
                </a:solidFill>
              </a:rPr>
              <a:t>Biomasse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F166373-C041-02EF-5D99-0F1F818BB1DA}"/>
              </a:ext>
            </a:extLst>
          </p:cNvPr>
          <p:cNvSpPr/>
          <p:nvPr/>
        </p:nvSpPr>
        <p:spPr>
          <a:xfrm>
            <a:off x="8205622" y="2005044"/>
            <a:ext cx="3219615" cy="896023"/>
          </a:xfrm>
          <a:prstGeom prst="rect">
            <a:avLst/>
          </a:prstGeom>
          <a:solidFill>
            <a:srgbClr val="F59C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365"/>
            <a:r>
              <a:rPr lang="de-DE" sz="2000" b="1">
                <a:solidFill>
                  <a:schemeClr val="bg1"/>
                </a:solidFill>
              </a:rPr>
              <a:t>Solarthermi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0FFEDCB-9453-AD63-4F0B-4CB27953193A}"/>
              </a:ext>
            </a:extLst>
          </p:cNvPr>
          <p:cNvSpPr/>
          <p:nvPr/>
        </p:nvSpPr>
        <p:spPr>
          <a:xfrm>
            <a:off x="766758" y="5225693"/>
            <a:ext cx="3219615" cy="896023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>
                <a:solidFill>
                  <a:schemeClr val="bg1"/>
                </a:solidFill>
              </a:rPr>
              <a:t>I</a:t>
            </a:r>
            <a:r>
              <a:rPr kumimoji="0" lang="de-DE" sz="20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ndustrielle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Abwärm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D98CAF5-61AC-40E2-EF37-A84764A5D8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lche Potenziale bleiben übrig?</a:t>
            </a:r>
            <a:br>
              <a:rPr lang="de-DE" dirty="0"/>
            </a:br>
            <a:r>
              <a:rPr lang="de-DE" sz="2000" dirty="0"/>
              <a:t>Fokus auf Wärmequellen mit realistischem Beitrag für Eschelbron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351E06-B7E3-AB90-C743-32D259435A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90D011-AD2B-6583-8D8E-7149FB51C4F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D2B84F2-1355-A123-E063-0591966ABC05}"/>
              </a:ext>
            </a:extLst>
          </p:cNvPr>
          <p:cNvSpPr/>
          <p:nvPr/>
        </p:nvSpPr>
        <p:spPr>
          <a:xfrm>
            <a:off x="766758" y="2005044"/>
            <a:ext cx="3219615" cy="896023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Umgebungsluf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511B188-C1C2-9EF3-D606-67850467EB41}"/>
              </a:ext>
            </a:extLst>
          </p:cNvPr>
          <p:cNvSpPr/>
          <p:nvPr/>
        </p:nvSpPr>
        <p:spPr>
          <a:xfrm>
            <a:off x="8205619" y="3615369"/>
            <a:ext cx="3219615" cy="896023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>
                <a:solidFill>
                  <a:schemeClr val="bg1"/>
                </a:solidFill>
              </a:rPr>
              <a:t>Power-</a:t>
            </a:r>
            <a:r>
              <a:rPr lang="de-DE" sz="2000" b="1" err="1">
                <a:solidFill>
                  <a:schemeClr val="bg1"/>
                </a:solidFill>
              </a:rPr>
              <a:t>to</a:t>
            </a:r>
            <a:r>
              <a:rPr lang="de-DE" sz="2000" b="1">
                <a:solidFill>
                  <a:schemeClr val="bg1"/>
                </a:solidFill>
              </a:rPr>
              <a:t>-X (Wind, PV)</a:t>
            </a: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31726D9-DE1A-79BC-A16D-40FAA87BF7E9}"/>
              </a:ext>
            </a:extLst>
          </p:cNvPr>
          <p:cNvSpPr/>
          <p:nvPr/>
        </p:nvSpPr>
        <p:spPr>
          <a:xfrm>
            <a:off x="8205620" y="5225694"/>
            <a:ext cx="3219615" cy="896023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>
                <a:solidFill>
                  <a:schemeClr val="bg1"/>
                </a:solidFill>
              </a:rPr>
              <a:t>See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wasserwärm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C21EA4D-3FFD-CF13-EBFE-FCCD0C5318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694D383-29BD-19B8-3D98-04F824B69F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421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C119EE-FA61-A0AA-3DBD-74B3924488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6AF960-AEEF-9D3E-EDB6-517AC7DA8D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zit der Potenzialanalyse</a:t>
            </a:r>
            <a:br>
              <a:rPr lang="de-DE"/>
            </a:br>
            <a:r>
              <a:rPr lang="de-DE" sz="2000"/>
              <a:t>Die wichtigsten Schlussfolgerungen für die weitere Planung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61BB71-E6A6-199E-FC14-F83B277070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71335D-4A90-EA1B-048F-3B2CB6D964C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B742FB56-F886-02AB-E7E0-F84220BB0B4B}"/>
              </a:ext>
            </a:extLst>
          </p:cNvPr>
          <p:cNvSpPr/>
          <p:nvPr/>
        </p:nvSpPr>
        <p:spPr>
          <a:xfrm>
            <a:off x="1010092" y="2183586"/>
            <a:ext cx="659219" cy="65921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FF9A4D50-082C-5694-8933-D6F06F1A512B}"/>
              </a:ext>
            </a:extLst>
          </p:cNvPr>
          <p:cNvSpPr/>
          <p:nvPr/>
        </p:nvSpPr>
        <p:spPr>
          <a:xfrm>
            <a:off x="1010092" y="3576565"/>
            <a:ext cx="659219" cy="65921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EC67E9F3-375F-52D9-1176-114C56AA4550}"/>
              </a:ext>
            </a:extLst>
          </p:cNvPr>
          <p:cNvSpPr/>
          <p:nvPr/>
        </p:nvSpPr>
        <p:spPr>
          <a:xfrm>
            <a:off x="1010092" y="4969543"/>
            <a:ext cx="659219" cy="65921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5A2073-6F61-837D-2179-FED2B3002975}"/>
              </a:ext>
            </a:extLst>
          </p:cNvPr>
          <p:cNvSpPr txBox="1"/>
          <p:nvPr/>
        </p:nvSpPr>
        <p:spPr>
          <a:xfrm>
            <a:off x="1980850" y="4980423"/>
            <a:ext cx="944438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/>
              <a:t>Die </a:t>
            </a:r>
            <a:r>
              <a:rPr lang="de-DE" sz="2000" b="1" dirty="0"/>
              <a:t>energetische Sanierung</a:t>
            </a:r>
            <a:r>
              <a:rPr lang="de-DE" sz="2000" dirty="0"/>
              <a:t> ist der </a:t>
            </a:r>
            <a:r>
              <a:rPr lang="de-DE" sz="2000" b="1" dirty="0"/>
              <a:t>größte Hebel </a:t>
            </a:r>
            <a:r>
              <a:rPr lang="de-DE" sz="2000" dirty="0"/>
              <a:t>für Eschelbronn: geringerer Wärmebedarf senkt Kosten, Emissionen und verbessert die </a:t>
            </a:r>
            <a:r>
              <a:rPr lang="de-DE" sz="2000" b="1" dirty="0"/>
              <a:t>Effizienz von Wärmepumpen</a:t>
            </a:r>
            <a:r>
              <a:rPr lang="de-DE" sz="2000" dirty="0"/>
              <a:t> deutlich.</a:t>
            </a:r>
            <a:endParaRPr lang="de-DE" sz="2000" b="1" dirty="0"/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7FAE3F4E-B34E-961F-4A18-971AD1EE1F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323165"/>
            <a:ext cx="26481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C2290F5-9EFF-8921-EFBF-569800C59C32}"/>
              </a:ext>
            </a:extLst>
          </p:cNvPr>
          <p:cNvSpPr txBox="1"/>
          <p:nvPr/>
        </p:nvSpPr>
        <p:spPr>
          <a:xfrm>
            <a:off x="1980850" y="3706119"/>
            <a:ext cx="94443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/>
              <a:t>Wärmepumpen </a:t>
            </a:r>
            <a:r>
              <a:rPr lang="de-DE" sz="2000"/>
              <a:t>stellen das wesentliche</a:t>
            </a:r>
            <a:r>
              <a:rPr lang="de-DE" sz="2000" b="1"/>
              <a:t> dezentrale Versorgungspotenzial dar.</a:t>
            </a:r>
            <a:endParaRPr lang="de-DE" sz="20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343534B-C442-F1B5-9196-E8A494E1C2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5C2567A-8550-5D39-F859-BBFAC258EE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72360206-846E-26C3-9EBD-E84E85571999}"/>
              </a:ext>
            </a:extLst>
          </p:cNvPr>
          <p:cNvSpPr txBox="1"/>
          <p:nvPr/>
        </p:nvSpPr>
        <p:spPr>
          <a:xfrm>
            <a:off x="1980850" y="2159253"/>
            <a:ext cx="9444388" cy="7078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de-DE" sz="2000" dirty="0"/>
              <a:t>Vor allem </a:t>
            </a:r>
            <a:r>
              <a:rPr lang="de-DE" sz="2000" b="1" dirty="0"/>
              <a:t>Umgebungsluft</a:t>
            </a:r>
            <a:r>
              <a:rPr lang="de-DE" sz="2000" dirty="0"/>
              <a:t> konnte als ein </a:t>
            </a:r>
            <a:r>
              <a:rPr lang="de-DE" sz="2000" b="1" dirty="0"/>
              <a:t>Potenzial</a:t>
            </a:r>
            <a:r>
              <a:rPr lang="de-DE" sz="2000" dirty="0"/>
              <a:t> für die </a:t>
            </a:r>
            <a:r>
              <a:rPr lang="de-DE" sz="2000" b="1" dirty="0"/>
              <a:t>zentrale Wärmeversorgung</a:t>
            </a:r>
            <a:r>
              <a:rPr lang="de-DE" sz="2000" dirty="0"/>
              <a:t> identifiziert werden – möglicherweise ergänzt durch </a:t>
            </a:r>
            <a:r>
              <a:rPr lang="de-DE" sz="2000" b="1" dirty="0"/>
              <a:t>Geothermie</a:t>
            </a:r>
            <a:r>
              <a:rPr lang="de-DE" sz="2000" dirty="0"/>
              <a:t> und </a:t>
            </a:r>
            <a:r>
              <a:rPr lang="de-DE" sz="2000" b="1" dirty="0"/>
              <a:t>Solarthermie.</a:t>
            </a:r>
          </a:p>
        </p:txBody>
      </p:sp>
    </p:spTree>
    <p:extLst>
      <p:ext uri="{BB962C8B-B14F-4D97-AF65-F5344CB8AC3E}">
        <p14:creationId xmlns:p14="http://schemas.microsoft.com/office/powerpoint/2010/main" val="11812933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3D03FF-7D28-2A36-5B53-CF0F7F80D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A8C7EC1-1718-2520-911F-DB32E350B1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03172" y="549275"/>
            <a:ext cx="9161652" cy="3023702"/>
          </a:xfrm>
        </p:spPr>
        <p:txBody>
          <a:bodyPr/>
          <a:lstStyle/>
          <a:p>
            <a:r>
              <a:rPr lang="de-DE"/>
              <a:t>Zielszenario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9A0D21-8EEA-B99A-FDD1-E26846F8D2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noProof="0"/>
              <a:t>3</a:t>
            </a:r>
          </a:p>
        </p:txBody>
      </p:sp>
      <p:pic>
        <p:nvPicPr>
          <p:cNvPr id="5" name="Grafik 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A988FAF-7D55-7930-40CE-B169515F27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8828" y="5085184"/>
            <a:ext cx="1672417" cy="361466"/>
          </a:xfrm>
          <a:prstGeom prst="rect">
            <a:avLst/>
          </a:prstGeom>
        </p:spPr>
      </p:pic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D4F8B4EA-78BF-D331-1DAA-13681FB5E270}"/>
              </a:ext>
            </a:extLst>
          </p:cNvPr>
          <p:cNvSpPr/>
          <p:nvPr/>
        </p:nvSpPr>
        <p:spPr>
          <a:xfrm>
            <a:off x="9020705" y="239240"/>
            <a:ext cx="2912208" cy="1172110"/>
          </a:xfrm>
          <a:prstGeom prst="roundRect">
            <a:avLst>
              <a:gd name="adj" fmla="val 16654"/>
            </a:avLst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pic>
        <p:nvPicPr>
          <p:cNvPr id="9" name="Grafik 8" descr="Ein Bild, das Text, Screenshot, Visitenkarte, Schrift enthält.&#10;&#10;KI-generierte Inhalte können fehlerhaft sein.">
            <a:extLst>
              <a:ext uri="{FF2B5EF4-FFF2-40B4-BE49-F238E27FC236}">
                <a16:creationId xmlns:a16="http://schemas.microsoft.com/office/drawing/2014/main" id="{7F4EA97E-C8BF-5B06-015F-320EDF2F50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7977" y="4077675"/>
            <a:ext cx="1714118" cy="7154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F6EA08F-E758-2197-53A0-55E352AFB8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53609" y="458435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4035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0CBCBE-FADB-7B62-F2BB-554DBE2DCB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AC2430-CCFA-688F-C960-2E1168EE064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de-DE"/>
              <a:t>1</a:t>
            </a:r>
          </a:p>
          <a:p>
            <a:r>
              <a:rPr lang="de-DE"/>
              <a:t>2</a:t>
            </a:r>
          </a:p>
          <a:p>
            <a:r>
              <a:rPr lang="de-DE"/>
              <a:t>3</a:t>
            </a:r>
          </a:p>
          <a:p>
            <a:r>
              <a:rPr lang="de-DE"/>
              <a:t>4</a:t>
            </a:r>
          </a:p>
          <a:p>
            <a:r>
              <a:rPr lang="de-DE"/>
              <a:t>5</a:t>
            </a:r>
          </a:p>
          <a:p>
            <a:endParaRPr lang="de-DE"/>
          </a:p>
          <a:p>
            <a:endParaRPr lang="de-DE"/>
          </a:p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ACE6F5E-C207-1222-D282-E9E7C02F838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e-DE"/>
              <a:t>Kommunale Wärmeplanung &amp; rechtliche Grundlagen</a:t>
            </a:r>
          </a:p>
          <a:p>
            <a:r>
              <a:rPr lang="de-DE"/>
              <a:t>Eckdaten Bestands- &amp; Potentialanalyse</a:t>
            </a:r>
          </a:p>
          <a:p>
            <a:r>
              <a:rPr lang="de-DE"/>
              <a:t>Zielszenario </a:t>
            </a:r>
          </a:p>
          <a:p>
            <a:r>
              <a:rPr lang="de-DE"/>
              <a:t>Maßnahmenkatalog &amp; Beteiligung</a:t>
            </a:r>
          </a:p>
          <a:p>
            <a:r>
              <a:rPr lang="de-DE"/>
              <a:t>Fragen &amp; Diskussion</a:t>
            </a:r>
          </a:p>
        </p:txBody>
      </p:sp>
      <p:pic>
        <p:nvPicPr>
          <p:cNvPr id="5" name="Grafik 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1FDBD3C5-0655-F4B5-6EDE-72F9F071B9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83585" y="187585"/>
            <a:ext cx="1673453" cy="36169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F05E5F3-0A7F-3C94-A319-704BE052A9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4320" y="5147469"/>
            <a:ext cx="2494262" cy="1111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3258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418716-C517-D0AF-5DD2-42301F1BC0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0023AEB0-490A-9AB2-747D-281E8BF90E20}"/>
              </a:ext>
            </a:extLst>
          </p:cNvPr>
          <p:cNvSpPr/>
          <p:nvPr/>
        </p:nvSpPr>
        <p:spPr>
          <a:xfrm>
            <a:off x="10731542" y="1751677"/>
            <a:ext cx="1467293" cy="47421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47D2747-9F51-DC22-606A-A14DBD45F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Zielsetzung des Zielszenarios</a:t>
            </a:r>
            <a:br>
              <a:rPr lang="de-DE"/>
            </a:br>
            <a:r>
              <a:rPr lang="de-DE" sz="2400"/>
              <a:t>Wie kann sich der Heizsektor zukünftig transformieren?</a:t>
            </a:r>
            <a:endParaRPr lang="de-DE"/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9B86B7C8-F332-5142-C5D7-76F58A259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558" y="2010182"/>
            <a:ext cx="9441125" cy="1078395"/>
          </a:xfrm>
          <a:prstGeom prst="rect">
            <a:avLst/>
          </a:prstGeom>
          <a:solidFill>
            <a:srgbClr val="009BA5"/>
          </a:solidFill>
          <a:ln>
            <a:noFill/>
          </a:ln>
        </p:spPr>
        <p:txBody>
          <a:bodyPr anchor="ctr"/>
          <a:lstStyle>
            <a:lvl1pPr marL="2667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1700" b="1">
                <a:solidFill>
                  <a:prstClr val="white"/>
                </a:solidFill>
                <a:latin typeface="+mn-lt"/>
              </a:rPr>
              <a:t>     Festlegung </a:t>
            </a:r>
            <a:r>
              <a:rPr lang="de-DE" altLang="de-DE" sz="1700">
                <a:solidFill>
                  <a:prstClr val="white"/>
                </a:solidFill>
                <a:latin typeface="+mn-lt"/>
              </a:rPr>
              <a:t>geeigneter Technologien und Versorgungskonzepte pro Teilraum</a:t>
            </a:r>
          </a:p>
        </p:txBody>
      </p:sp>
      <p:sp>
        <p:nvSpPr>
          <p:cNvPr id="23" name="Rectangle 11">
            <a:extLst>
              <a:ext uri="{FF2B5EF4-FFF2-40B4-BE49-F238E27FC236}">
                <a16:creationId xmlns:a16="http://schemas.microsoft.com/office/drawing/2014/main" id="{7565FE88-D08F-8685-36A9-3688252D3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7114" y="3522616"/>
            <a:ext cx="9032269" cy="1078395"/>
          </a:xfrm>
          <a:prstGeom prst="rect">
            <a:avLst/>
          </a:prstGeom>
          <a:solidFill>
            <a:srgbClr val="009BA5"/>
          </a:solidFill>
          <a:ln>
            <a:noFill/>
          </a:ln>
        </p:spPr>
        <p:txBody>
          <a:bodyPr anchor="ctr"/>
          <a:lstStyle>
            <a:lvl1pPr marL="2667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1700" b="1">
                <a:solidFill>
                  <a:prstClr val="white"/>
                </a:solidFill>
                <a:latin typeface="+mn-lt"/>
              </a:rPr>
              <a:t>     Ableitung</a:t>
            </a:r>
            <a:r>
              <a:rPr lang="de-DE" altLang="de-DE" sz="1700">
                <a:solidFill>
                  <a:prstClr val="white"/>
                </a:solidFill>
                <a:latin typeface="+mn-lt"/>
              </a:rPr>
              <a:t> eines möglichen </a:t>
            </a:r>
            <a:r>
              <a:rPr lang="de-DE" altLang="de-DE" sz="1700" b="1">
                <a:solidFill>
                  <a:prstClr val="white"/>
                </a:solidFill>
                <a:latin typeface="+mn-lt"/>
              </a:rPr>
              <a:t>Zielzustands</a:t>
            </a:r>
            <a:r>
              <a:rPr lang="de-DE" altLang="de-DE" sz="1700">
                <a:solidFill>
                  <a:prstClr val="white"/>
                </a:solidFill>
                <a:latin typeface="+mn-lt"/>
              </a:rPr>
              <a:t> der zukünftigen Wärmeversorgung </a:t>
            </a: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B9A2DC3A-E54E-243E-E8DB-EA6F061DEC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558" y="5035050"/>
            <a:ext cx="9441125" cy="1078395"/>
          </a:xfrm>
          <a:prstGeom prst="rect">
            <a:avLst/>
          </a:prstGeom>
          <a:solidFill>
            <a:srgbClr val="009BA5"/>
          </a:solidFill>
          <a:ln>
            <a:noFill/>
          </a:ln>
        </p:spPr>
        <p:txBody>
          <a:bodyPr anchor="ctr"/>
          <a:lstStyle/>
          <a:p>
            <a:pPr marL="266700">
              <a:defRPr/>
            </a:pPr>
            <a:r>
              <a:rPr lang="de-DE" altLang="de-DE" sz="1700" b="1">
                <a:solidFill>
                  <a:prstClr val="white"/>
                </a:solidFill>
              </a:rPr>
              <a:t>     Konkretisierung </a:t>
            </a:r>
            <a:r>
              <a:rPr lang="de-DE" altLang="de-DE" sz="1700">
                <a:solidFill>
                  <a:prstClr val="white"/>
                </a:solidFill>
              </a:rPr>
              <a:t>einer belastbaren Grundlage für die </a:t>
            </a:r>
            <a:r>
              <a:rPr lang="de-DE" altLang="de-DE" sz="1700" b="1">
                <a:solidFill>
                  <a:prstClr val="white"/>
                </a:solidFill>
              </a:rPr>
              <a:t>Maßnahmenplanung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0D38A979-8CBD-6398-CCCD-A740B8C768C9}"/>
              </a:ext>
            </a:extLst>
          </p:cNvPr>
          <p:cNvSpPr/>
          <p:nvPr/>
        </p:nvSpPr>
        <p:spPr>
          <a:xfrm>
            <a:off x="8569168" y="1888859"/>
            <a:ext cx="3408453" cy="4488352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Tx/>
              <a:buFont typeface="Ubuntu" panose="020B0504030602030204" pitchFamily="34" charset="0"/>
              <a:buNone/>
              <a:tabLst/>
              <a:defRPr/>
            </a:pPr>
            <a:endParaRPr kumimoji="0" lang="de-DE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Oval 7">
            <a:extLst>
              <a:ext uri="{FF2B5EF4-FFF2-40B4-BE49-F238E27FC236}">
                <a16:creationId xmlns:a16="http://schemas.microsoft.com/office/drawing/2014/main" id="{1BDD8332-BCAD-CEB0-60D7-0592C69F19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567" y="2199295"/>
            <a:ext cx="730366" cy="700169"/>
          </a:xfrm>
          <a:prstGeom prst="ellipse">
            <a:avLst/>
          </a:prstGeom>
          <a:solidFill>
            <a:srgbClr val="FDC300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1</a:t>
            </a:r>
          </a:p>
        </p:txBody>
      </p:sp>
      <p:sp>
        <p:nvSpPr>
          <p:cNvPr id="27" name="Oval 12">
            <a:extLst>
              <a:ext uri="{FF2B5EF4-FFF2-40B4-BE49-F238E27FC236}">
                <a16:creationId xmlns:a16="http://schemas.microsoft.com/office/drawing/2014/main" id="{127DDE3E-B2CD-317D-AA9D-9C8171F85C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665" y="3711728"/>
            <a:ext cx="730366" cy="700169"/>
          </a:xfrm>
          <a:prstGeom prst="ellipse">
            <a:avLst/>
          </a:prstGeom>
          <a:solidFill>
            <a:srgbClr val="FDC300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2</a:t>
            </a:r>
          </a:p>
        </p:txBody>
      </p:sp>
      <p:sp>
        <p:nvSpPr>
          <p:cNvPr id="28" name="Oval 15">
            <a:extLst>
              <a:ext uri="{FF2B5EF4-FFF2-40B4-BE49-F238E27FC236}">
                <a16:creationId xmlns:a16="http://schemas.microsoft.com/office/drawing/2014/main" id="{1D6B034D-00B2-5B86-6ECF-563B3A0C98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567" y="5224162"/>
            <a:ext cx="730366" cy="700169"/>
          </a:xfrm>
          <a:prstGeom prst="ellipse">
            <a:avLst/>
          </a:prstGeom>
          <a:solidFill>
            <a:srgbClr val="FDC300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3</a:t>
            </a:r>
          </a:p>
        </p:txBody>
      </p:sp>
      <p:pic>
        <p:nvPicPr>
          <p:cNvPr id="29" name="Picture 2" descr="207.800+ Fotos, Bilder und lizenzfreie Bilder zu Zielscheibe - iStock |  Zielgruppe, Strategie, Ziele">
            <a:extLst>
              <a:ext uri="{FF2B5EF4-FFF2-40B4-BE49-F238E27FC236}">
                <a16:creationId xmlns:a16="http://schemas.microsoft.com/office/drawing/2014/main" id="{28F80B27-6BC4-D1EE-C0CA-F1E18F22EE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987" b="89706" l="9804" r="93301">
                        <a14:foregroundMark x1="20915" y1="33987" x2="20915" y2="33987"/>
                        <a14:foregroundMark x1="26961" y1="33007" x2="17810" y2="43791"/>
                        <a14:foregroundMark x1="17810" y1="43791" x2="17810" y2="43791"/>
                        <a14:foregroundMark x1="38072" y1="41667" x2="31863" y2="50654"/>
                        <a14:foregroundMark x1="62908" y1="58007" x2="53922" y2="68137"/>
                        <a14:foregroundMark x1="53922" y1="68137" x2="48366" y2="70261"/>
                        <a14:foregroundMark x1="89869" y1="17484" x2="89869" y2="17484"/>
                        <a14:foregroundMark x1="83987" y1="8987" x2="83987" y2="8987"/>
                        <a14:foregroundMark x1="93301" y1="16340" x2="93301" y2="1634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169" y="2372799"/>
            <a:ext cx="3280935" cy="3280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54529F3F-468B-99FC-616D-58BA8FC3C4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593ECF-486E-8196-310D-25F88D164A2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288855" y="6345238"/>
            <a:ext cx="2136383" cy="184666"/>
          </a:xfrm>
        </p:spPr>
        <p:txBody>
          <a:bodyPr/>
          <a:lstStyle/>
          <a:p>
            <a:fld id="{04D100B3-F0E5-314B-8707-762A8B7A5223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342505DC-86AA-AB64-6AA5-85E68C7524D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66762" y="6335713"/>
            <a:ext cx="4958758" cy="184666"/>
          </a:xfrm>
        </p:spPr>
        <p:txBody>
          <a:bodyPr/>
          <a:lstStyle/>
          <a:p>
            <a:r>
              <a:rPr lang="de-DE"/>
              <a:t>Syna GmbH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82485E8-6A81-BCD1-9C4E-80CD5A9FF2A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6659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Karte, Atlas, Text enthält.&#10;&#10;KI-generierte Inhalte können fehlerhaft sein.">
            <a:extLst>
              <a:ext uri="{FF2B5EF4-FFF2-40B4-BE49-F238E27FC236}">
                <a16:creationId xmlns:a16="http://schemas.microsoft.com/office/drawing/2014/main" id="{E374FA49-7A51-2357-747F-6FACDF27FCC0}"/>
              </a:ext>
            </a:extLst>
          </p:cNvPr>
          <p:cNvPicPr preferRelativeResize="0"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Foliennummernplatzhalter 3" hidden="1">
            <a:extLst>
              <a:ext uri="{FF2B5EF4-FFF2-40B4-BE49-F238E27FC236}">
                <a16:creationId xmlns:a16="http://schemas.microsoft.com/office/drawing/2014/main" id="{18260379-4C54-7B81-A92D-54A542F9961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288855" y="6345238"/>
            <a:ext cx="2136383" cy="184666"/>
          </a:xfrm>
        </p:spPr>
        <p:txBody>
          <a:bodyPr/>
          <a:lstStyle/>
          <a:p>
            <a:pPr>
              <a:spcAft>
                <a:spcPts val="600"/>
              </a:spcAft>
            </a:pPr>
            <a:fld id="{04D100B3-F0E5-314B-8707-762A8B7A5223}" type="slidenum">
              <a:rPr lang="de-DE" smtClean="0"/>
              <a:pPr>
                <a:spcAft>
                  <a:spcPts val="600"/>
                </a:spcAft>
              </a:pPr>
              <a:t>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387EE7A-6747-D7AB-45D0-8A8E8B8E31ED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766762" y="6345238"/>
            <a:ext cx="5329238" cy="184666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e-DE"/>
              <a:t>Syna GmbH</a:t>
            </a:r>
          </a:p>
        </p:txBody>
      </p:sp>
      <p:sp>
        <p:nvSpPr>
          <p:cNvPr id="6" name="Sprechblase: oval 5">
            <a:extLst>
              <a:ext uri="{FF2B5EF4-FFF2-40B4-BE49-F238E27FC236}">
                <a16:creationId xmlns:a16="http://schemas.microsoft.com/office/drawing/2014/main" id="{B6156956-DC3B-500C-BB3B-DFD9273C5EA6}"/>
              </a:ext>
            </a:extLst>
          </p:cNvPr>
          <p:cNvSpPr/>
          <p:nvPr/>
        </p:nvSpPr>
        <p:spPr>
          <a:xfrm flipH="1">
            <a:off x="5017971" y="3952429"/>
            <a:ext cx="2393483" cy="1289677"/>
          </a:xfrm>
          <a:prstGeom prst="wedgeEllipseCallout">
            <a:avLst>
              <a:gd name="adj1" fmla="val -59820"/>
              <a:gd name="adj2" fmla="val -110522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Größere öffentliche Gebäude und hohe Wärmedichten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68A22467-8C8B-29ED-FF3A-2CCE58B187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6673443"/>
              </p:ext>
            </p:extLst>
          </p:nvPr>
        </p:nvGraphicFramePr>
        <p:xfrm>
          <a:off x="9933992" y="6105625"/>
          <a:ext cx="2258008" cy="7620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929893">
                  <a:extLst>
                    <a:ext uri="{9D8B030D-6E8A-4147-A177-3AD203B41FA5}">
                      <a16:colId xmlns:a16="http://schemas.microsoft.com/office/drawing/2014/main" val="787758126"/>
                    </a:ext>
                  </a:extLst>
                </a:gridCol>
                <a:gridCol w="328115">
                  <a:extLst>
                    <a:ext uri="{9D8B030D-6E8A-4147-A177-3AD203B41FA5}">
                      <a16:colId xmlns:a16="http://schemas.microsoft.com/office/drawing/2014/main" val="3880727818"/>
                    </a:ext>
                  </a:extLst>
                </a:gridCol>
              </a:tblGrid>
              <a:tr h="205740">
                <a:tc grid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de-DE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Gebietseinteilu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050" b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2967342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>
                          <a:solidFill>
                            <a:schemeClr val="tx2"/>
                          </a:solidFill>
                        </a:rPr>
                        <a:t>Dezentrale Wärmeversorgung</a:t>
                      </a:r>
                      <a:endParaRPr lang="de-DE" sz="1050" b="1" strike="sngStrike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05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6B4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482031"/>
                  </a:ext>
                </a:extLst>
              </a:tr>
              <a:tr h="134192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de-DE" sz="1050" b="1">
                          <a:solidFill>
                            <a:schemeClr val="tx2"/>
                          </a:solidFill>
                        </a:rPr>
                        <a:t>Wärmenetzneubaugebie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05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70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9741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81654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EED0C06C-4364-A7B0-E0B8-91008D65F0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7685" y="2449182"/>
            <a:ext cx="5017341" cy="301404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9D80363-ACA6-B138-3FC0-CE66D214CB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760" y="1992429"/>
            <a:ext cx="5599609" cy="392755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8A11319-91DD-374C-3315-C755D47FD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imulation der Entwicklung bis 2040</a:t>
            </a:r>
            <a:br>
              <a:rPr lang="de-DE"/>
            </a:br>
            <a:r>
              <a:rPr lang="de-DE" sz="2000"/>
              <a:t>Schrittweise Transformation der Wärmeversorgung bis zum Zieljahr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482CEC-14A1-1F50-1350-9F8D886239F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5C52BF-A0C2-FBA6-E0A8-112A150B933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5C7D45-B2C9-5334-79AD-5EA1C494E6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16B2F5D-4D02-7BED-B13B-B97FCC8ED090}"/>
              </a:ext>
            </a:extLst>
          </p:cNvPr>
          <p:cNvCxnSpPr>
            <a:cxnSpLocks/>
          </p:cNvCxnSpPr>
          <p:nvPr/>
        </p:nvCxnSpPr>
        <p:spPr>
          <a:xfrm>
            <a:off x="2629689" y="2567163"/>
            <a:ext cx="3466311" cy="1446567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87AE7BAF-7976-4F05-BFA8-4EA6A2E86F0D}"/>
              </a:ext>
            </a:extLst>
          </p:cNvPr>
          <p:cNvSpPr txBox="1"/>
          <p:nvPr/>
        </p:nvSpPr>
        <p:spPr>
          <a:xfrm rot="1395823">
            <a:off x="2966114" y="2974148"/>
            <a:ext cx="305179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de-DE" b="1" dirty="0"/>
              <a:t>Effekt der Heizungsumstellung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3A5F2A4-5258-BD16-049A-7D8583092A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3320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5507B-A264-CF98-84B1-8A643A2F84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76BAC9-8C1C-6688-4846-67340C00D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zit des Entwicklungspfad &amp; Zielszenario</a:t>
            </a:r>
            <a:br>
              <a:rPr lang="de-DE"/>
            </a:br>
            <a:r>
              <a:rPr lang="de-DE" sz="2000"/>
              <a:t>Wesentliche Erkenntnisse und Fokusbereiche im Überblick</a:t>
            </a:r>
            <a:br>
              <a:rPr lang="de-DE"/>
            </a:br>
            <a:br>
              <a:rPr lang="de-DE"/>
            </a:b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BB20BD2-15A5-A674-B6C6-05F1369FC57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D30A6F-C426-3F8E-0E3A-17603D0EBBA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2D3B2C98-DFD1-BEA6-96BF-8491A54FF0B4}"/>
              </a:ext>
            </a:extLst>
          </p:cNvPr>
          <p:cNvSpPr/>
          <p:nvPr/>
        </p:nvSpPr>
        <p:spPr>
          <a:xfrm>
            <a:off x="1010092" y="2183586"/>
            <a:ext cx="659219" cy="65921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F3AFF3F1-5594-3634-2846-3BE0B9EFFA23}"/>
              </a:ext>
            </a:extLst>
          </p:cNvPr>
          <p:cNvSpPr/>
          <p:nvPr/>
        </p:nvSpPr>
        <p:spPr>
          <a:xfrm>
            <a:off x="1010092" y="3576565"/>
            <a:ext cx="659219" cy="65921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5BACF272-E7F4-5A39-A2CC-4769650EBE2F}"/>
              </a:ext>
            </a:extLst>
          </p:cNvPr>
          <p:cNvSpPr/>
          <p:nvPr/>
        </p:nvSpPr>
        <p:spPr>
          <a:xfrm>
            <a:off x="1010092" y="4969543"/>
            <a:ext cx="659219" cy="65921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1E780D7-B3DA-0E19-64EF-4AB6A6F3EC6D}"/>
              </a:ext>
            </a:extLst>
          </p:cNvPr>
          <p:cNvSpPr txBox="1"/>
          <p:nvPr/>
        </p:nvSpPr>
        <p:spPr>
          <a:xfrm>
            <a:off x="1980850" y="2159253"/>
            <a:ext cx="944438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/>
              <a:t>Die zukünftige Wärmeversorgung wird </a:t>
            </a:r>
            <a:r>
              <a:rPr lang="de-DE" sz="2000" b="1" dirty="0"/>
              <a:t>überwiegend dezentral</a:t>
            </a:r>
            <a:r>
              <a:rPr lang="de-DE" sz="2000" dirty="0"/>
              <a:t> sein – </a:t>
            </a:r>
            <a:r>
              <a:rPr lang="de-DE" sz="2000" b="1" dirty="0"/>
              <a:t>Wärmepumpen</a:t>
            </a:r>
            <a:r>
              <a:rPr lang="de-DE" sz="2000" dirty="0"/>
              <a:t> bieten hierfür in vielen Bereichen </a:t>
            </a:r>
            <a:r>
              <a:rPr lang="de-DE" sz="2000" b="1" dirty="0"/>
              <a:t>eine geeignete Option</a:t>
            </a:r>
            <a:r>
              <a:rPr lang="de-DE" sz="2000" dirty="0"/>
              <a:t>.</a:t>
            </a:r>
            <a:endParaRPr lang="de-DE" sz="2000" b="1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1D1F378-6A22-E3F9-29BD-C305655C6C2F}"/>
              </a:ext>
            </a:extLst>
          </p:cNvPr>
          <p:cNvSpPr txBox="1"/>
          <p:nvPr/>
        </p:nvSpPr>
        <p:spPr>
          <a:xfrm>
            <a:off x="1980850" y="4822099"/>
            <a:ext cx="944438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/>
              <a:t>Für Eschelbronn ergeben sich </a:t>
            </a:r>
            <a:r>
              <a:rPr lang="de-DE" sz="2000" b="1" dirty="0"/>
              <a:t>zwei strategische Anforderungen</a:t>
            </a:r>
            <a:r>
              <a:rPr lang="de-DE" sz="2000" dirty="0"/>
              <a:t>:</a:t>
            </a:r>
          </a:p>
          <a:p>
            <a:pPr marL="914400" lvl="1" indent="-457200">
              <a:buFont typeface="+mj-lt"/>
              <a:buAutoNum type="arabicPeriod"/>
            </a:pPr>
            <a:r>
              <a:rPr lang="de-DE" b="1" dirty="0"/>
              <a:t>Elektrifizierung</a:t>
            </a:r>
            <a:r>
              <a:rPr lang="de-DE" dirty="0"/>
              <a:t> der Wärmeversorgung erfordert ein </a:t>
            </a:r>
            <a:r>
              <a:rPr lang="de-DE" b="1" dirty="0"/>
              <a:t>leistungsfähiges Stromnetz.</a:t>
            </a:r>
          </a:p>
          <a:p>
            <a:pPr marL="914400" lvl="1" indent="-457200">
              <a:buFont typeface="+mj-lt"/>
              <a:buAutoNum type="arabicPeriod"/>
            </a:pPr>
            <a:r>
              <a:rPr lang="de-DE" b="1" dirty="0"/>
              <a:t>Sanierungen</a:t>
            </a:r>
            <a:r>
              <a:rPr lang="de-DE" dirty="0"/>
              <a:t> leisten einen </a:t>
            </a:r>
            <a:r>
              <a:rPr lang="de-DE" b="1" dirty="0"/>
              <a:t>entscheidenden Beitrag</a:t>
            </a:r>
            <a:r>
              <a:rPr lang="de-DE" dirty="0"/>
              <a:t> zur Erreichung des Klimaziels.</a:t>
            </a:r>
            <a:endParaRPr lang="de-DE" b="1" dirty="0"/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BDD886B0-7842-BF11-BA21-9FDFE4D50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323165"/>
            <a:ext cx="26481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132237F-9E50-D051-C05D-714D0FB4DC84}"/>
              </a:ext>
            </a:extLst>
          </p:cNvPr>
          <p:cNvSpPr txBox="1"/>
          <p:nvPr/>
        </p:nvSpPr>
        <p:spPr>
          <a:xfrm>
            <a:off x="1980850" y="3552232"/>
            <a:ext cx="944438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/>
              <a:t>Im </a:t>
            </a:r>
            <a:r>
              <a:rPr lang="de-DE" sz="2000" b="1" dirty="0"/>
              <a:t>Ortskern </a:t>
            </a:r>
            <a:r>
              <a:rPr lang="de-DE" sz="2000" dirty="0"/>
              <a:t>sind </a:t>
            </a:r>
            <a:r>
              <a:rPr lang="de-DE" sz="2000" b="1" dirty="0"/>
              <a:t>grundsätzliche Voraussetzungen</a:t>
            </a:r>
            <a:r>
              <a:rPr lang="de-DE" sz="2000" dirty="0"/>
              <a:t> für Wärmenetze vorhanden, die </a:t>
            </a:r>
            <a:r>
              <a:rPr lang="de-DE" sz="2000" b="1" dirty="0"/>
              <a:t>technische und wirtschaftliche Umsetzbarkeit</a:t>
            </a:r>
            <a:r>
              <a:rPr lang="de-DE" sz="2000" dirty="0"/>
              <a:t> bleibt jedoch </a:t>
            </a:r>
            <a:r>
              <a:rPr lang="de-DE" sz="2000" b="1" dirty="0"/>
              <a:t>weiter zu prüfen</a:t>
            </a:r>
            <a:r>
              <a:rPr lang="de-DE" sz="2000" dirty="0"/>
              <a:t>.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23DD924-EB8B-8C63-9BF4-B34A4174C4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8915DA01-EC2D-D8CB-A350-5A91168934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7996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18CDFD-6BC1-BDBB-7333-A5850FCEE0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66DA624-9224-79EF-9E91-B69923F252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03172" y="549275"/>
            <a:ext cx="6627120" cy="3023702"/>
          </a:xfrm>
        </p:spPr>
        <p:txBody>
          <a:bodyPr/>
          <a:lstStyle/>
          <a:p>
            <a:r>
              <a:rPr lang="de-DE"/>
              <a:t>Maßnahmenkatalog &amp; Beteilig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A5B47F-9697-C4AD-76F2-B39FF7E022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/>
              <a:t>4</a:t>
            </a:r>
            <a:endParaRPr lang="de-DE" noProof="0"/>
          </a:p>
        </p:txBody>
      </p:sp>
      <p:pic>
        <p:nvPicPr>
          <p:cNvPr id="5" name="Grafik 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9DE241E-2955-07A2-03EE-3E0D81E587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88828" y="5085184"/>
            <a:ext cx="1672417" cy="361466"/>
          </a:xfrm>
          <a:prstGeom prst="rect">
            <a:avLst/>
          </a:prstGeom>
        </p:spPr>
      </p:pic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3E3E5FCA-ED9D-213A-3787-F6615600850B}"/>
              </a:ext>
            </a:extLst>
          </p:cNvPr>
          <p:cNvSpPr/>
          <p:nvPr/>
        </p:nvSpPr>
        <p:spPr>
          <a:xfrm>
            <a:off x="9020705" y="239240"/>
            <a:ext cx="2912208" cy="1172110"/>
          </a:xfrm>
          <a:prstGeom prst="roundRect">
            <a:avLst>
              <a:gd name="adj" fmla="val 16654"/>
            </a:avLst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pic>
        <p:nvPicPr>
          <p:cNvPr id="10" name="Grafik 9" descr="Ein Bild, das Text, Screenshot, Visitenkarte, Schrift enthält.&#10;&#10;KI-generierte Inhalte können fehlerhaft sein.">
            <a:extLst>
              <a:ext uri="{FF2B5EF4-FFF2-40B4-BE49-F238E27FC236}">
                <a16:creationId xmlns:a16="http://schemas.microsoft.com/office/drawing/2014/main" id="{2B87DA10-616D-07D0-8441-A904DAA879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7977" y="4077675"/>
            <a:ext cx="1714118" cy="7154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A103D6C5-2155-6147-F58A-CB0762FAE7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53609" y="458435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3203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A3811F-92DC-E4BD-9080-6BC4FA59D0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Inhaltsplatzhalter 6">
            <a:extLst>
              <a:ext uri="{FF2B5EF4-FFF2-40B4-BE49-F238E27FC236}">
                <a16:creationId xmlns:a16="http://schemas.microsoft.com/office/drawing/2014/main" id="{9767856B-6024-439C-5F0B-09CE76461E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8533783"/>
              </p:ext>
            </p:extLst>
          </p:nvPr>
        </p:nvGraphicFramePr>
        <p:xfrm>
          <a:off x="437138" y="2100134"/>
          <a:ext cx="11060428" cy="41960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7749">
                  <a:extLst>
                    <a:ext uri="{9D8B030D-6E8A-4147-A177-3AD203B41FA5}">
                      <a16:colId xmlns:a16="http://schemas.microsoft.com/office/drawing/2014/main" val="3964675548"/>
                    </a:ext>
                  </a:extLst>
                </a:gridCol>
                <a:gridCol w="7038439">
                  <a:extLst>
                    <a:ext uri="{9D8B030D-6E8A-4147-A177-3AD203B41FA5}">
                      <a16:colId xmlns:a16="http://schemas.microsoft.com/office/drawing/2014/main" val="4188755094"/>
                    </a:ext>
                  </a:extLst>
                </a:gridCol>
                <a:gridCol w="2326640">
                  <a:extLst>
                    <a:ext uri="{9D8B030D-6E8A-4147-A177-3AD203B41FA5}">
                      <a16:colId xmlns:a16="http://schemas.microsoft.com/office/drawing/2014/main" val="1852080570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4095518964"/>
                    </a:ext>
                  </a:extLst>
                </a:gridCol>
              </a:tblGrid>
              <a:tr h="275619">
                <a:tc>
                  <a:txBody>
                    <a:bodyPr/>
                    <a:lstStyle/>
                    <a:p>
                      <a:pPr algn="ctr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Nr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>
                          <a:solidFill>
                            <a:schemeClr val="tx1"/>
                          </a:solidFill>
                        </a:rPr>
                        <a:t>Maßnah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>
                          <a:solidFill>
                            <a:schemeClr val="tx1"/>
                          </a:solidFill>
                        </a:rPr>
                        <a:t>Kos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>
                          <a:solidFill>
                            <a:schemeClr val="tx1"/>
                          </a:solidFill>
                        </a:rPr>
                        <a:t>Prioritä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7106291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Einberufung einer Arbeitsgruppe Wärmewende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Ca. 5.000 €</a:t>
                      </a:r>
                      <a:br>
                        <a:rPr lang="de-DE" sz="12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(interne Personalkosten)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Hoch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072978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2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Erstellung von Energiekonzepten bei Erschließung von Neubaugebieten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5.000 - 50.000 € (50% gefördert)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Mittel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422073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3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Beratungsangebot für Sanierungsmaßnahmen 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50.000 - 200.000 €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Hoch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856307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sz="1400" b="1"/>
                        <a:t>4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kern="1200" noProof="0" dirty="0">
                          <a:solidFill>
                            <a:schemeClr val="tx1"/>
                          </a:solidFill>
                        </a:rPr>
                        <a:t>Strategie zur Dekarbonisierung für kommunale Liegenschaften</a:t>
                      </a:r>
                      <a:endParaRPr lang="de-DE" sz="14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chemeClr val="tx1"/>
                          </a:solidFill>
                        </a:rPr>
                        <a:t>15.000 - 30.000 € </a:t>
                      </a:r>
                      <a:endParaRPr lang="de-DE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 dirty="0">
                          <a:solidFill>
                            <a:schemeClr val="tx1"/>
                          </a:solidFill>
                        </a:rPr>
                        <a:t>Hoch</a:t>
                      </a:r>
                      <a:endParaRPr lang="de-DE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957221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Zusammenstellung der Potenziale für vertiefende Betrachtung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5.000-10.000 €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(interne Personalkosten)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Hoch</a:t>
                      </a:r>
                    </a:p>
                  </a:txBody>
                  <a:tcPr anchor="ctr">
                    <a:solidFill>
                      <a:srgbClr val="F59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547911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Strategieentwicklung „Wärmenetzausbaugebiet“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 dirty="0">
                          <a:solidFill>
                            <a:schemeClr val="tx1"/>
                          </a:solidFill>
                        </a:rPr>
                        <a:t>Ca. 5.000 € - 10.000 €</a:t>
                      </a:r>
                      <a:br>
                        <a:rPr lang="de-DE" sz="1200" b="0" kern="1200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(interne Personalkosten)</a:t>
                      </a:r>
                      <a:endParaRPr lang="de-DE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Ho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0440601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6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Untersuchung der zwei Prüfgebie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>
                          <a:solidFill>
                            <a:schemeClr val="tx1"/>
                          </a:solidFill>
                        </a:rPr>
                        <a:t>5.000-10.000 €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>
                          <a:solidFill>
                            <a:schemeClr val="tx1"/>
                          </a:solidFill>
                        </a:rPr>
                        <a:t>(interne Personalkosten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>
                          <a:solidFill>
                            <a:schemeClr val="tx1"/>
                          </a:solidFill>
                        </a:rPr>
                        <a:t>Mitte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1061025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Abstimmung zur Aufstellung eines Gasnetztransformationspla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.000 € - 5.000 € (Abstimmungsaufwan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Niedri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1986629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Abstimmung zur Aufstellung einer Zielnetzplanung Stro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>
                          <a:solidFill>
                            <a:schemeClr val="tx1"/>
                          </a:solidFill>
                        </a:rPr>
                        <a:t>2.000 € - 5.000 € (Abstimmungsaufwan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Niedri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9864961"/>
                  </a:ext>
                </a:extLst>
              </a:tr>
            </a:tbl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3C1FB26C-DF4E-BDE1-C879-3EB2528F8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ßnahmenkatalog</a:t>
            </a:r>
            <a:br>
              <a:rPr lang="de-DE"/>
            </a:br>
            <a:r>
              <a:rPr lang="de-DE" sz="2000"/>
              <a:t>Übersicht der zusammengestellten Maßnahme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493B4E95-8665-E6AF-A9AF-9EBE99E7A2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sp>
        <p:nvSpPr>
          <p:cNvPr id="2" name="Foliennummernplatzhalter 3">
            <a:extLst>
              <a:ext uri="{FF2B5EF4-FFF2-40B4-BE49-F238E27FC236}">
                <a16:creationId xmlns:a16="http://schemas.microsoft.com/office/drawing/2014/main" id="{34786E91-8929-AD53-C7FF-AA8383F0021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288855" y="6345238"/>
            <a:ext cx="2136383" cy="184666"/>
          </a:xfrm>
        </p:spPr>
        <p:txBody>
          <a:bodyPr/>
          <a:lstStyle/>
          <a:p>
            <a:fld id="{04D100B3-F0E5-314B-8707-762A8B7A5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86447B31-4118-272B-891D-B05D9A65DC8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66762" y="6345238"/>
            <a:ext cx="5329238" cy="184666"/>
          </a:xfrm>
        </p:spPr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8F7F990-2AEB-3FD0-5864-61ADB94ED252}"/>
              </a:ext>
            </a:extLst>
          </p:cNvPr>
          <p:cNvSpPr/>
          <p:nvPr/>
        </p:nvSpPr>
        <p:spPr>
          <a:xfrm>
            <a:off x="437138" y="1643590"/>
            <a:ext cx="194458" cy="1885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9DDF379-271C-5932-93B8-5E8A03AB940E}"/>
              </a:ext>
            </a:extLst>
          </p:cNvPr>
          <p:cNvSpPr txBox="1"/>
          <p:nvPr/>
        </p:nvSpPr>
        <p:spPr>
          <a:xfrm>
            <a:off x="710621" y="1599782"/>
            <a:ext cx="399680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de-DE"/>
              <a:t>Priorisierte Maßnahmen nach </a:t>
            </a:r>
            <a:r>
              <a:rPr lang="de-DE" err="1"/>
              <a:t>KlimaG</a:t>
            </a:r>
            <a:r>
              <a:rPr lang="de-DE"/>
              <a:t> BW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750E88A-6146-95F8-13C8-0F76469534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2989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F18F1A-B3D3-484D-B07D-154FEC437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teiligung während des Planprozesses</a:t>
            </a:r>
            <a:br>
              <a:rPr lang="de-DE"/>
            </a:br>
            <a:r>
              <a:rPr lang="de-DE" sz="2000"/>
              <a:t>Wie wurden Akteure einbezogen?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2F628DD-C522-BD06-A65C-CB32255CBF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466603A-24A2-3733-FE73-9550AE94047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6C1BFAD-9653-D92C-0A59-3ED0E592E0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3653FEB6-8681-2B68-6E82-AA9B2C0FE8B1}"/>
              </a:ext>
            </a:extLst>
          </p:cNvPr>
          <p:cNvSpPr/>
          <p:nvPr/>
        </p:nvSpPr>
        <p:spPr>
          <a:xfrm>
            <a:off x="909637" y="1802100"/>
            <a:ext cx="4658956" cy="4334455"/>
          </a:xfrm>
          <a:prstGeom prst="roundRect">
            <a:avLst>
              <a:gd name="adj" fmla="val 11215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04000" tIns="0" rIns="0" bIns="0" rtlCol="0" anchor="ctr"/>
          <a:lstStyle/>
          <a:p>
            <a:pPr>
              <a:spcBef>
                <a:spcPts val="1800"/>
              </a:spcBef>
              <a:spcAft>
                <a:spcPts val="3600"/>
              </a:spcAft>
            </a:pPr>
            <a:r>
              <a:rPr lang="de-DE" b="1" err="1">
                <a:solidFill>
                  <a:schemeClr val="bg1"/>
                </a:solidFill>
              </a:rPr>
              <a:t>Akteursmapping</a:t>
            </a:r>
            <a:r>
              <a:rPr lang="de-DE" b="1">
                <a:solidFill>
                  <a:schemeClr val="bg1"/>
                </a:solidFill>
              </a:rPr>
              <a:t> zum Start der    kommunalen Wärmeplanung</a:t>
            </a:r>
          </a:p>
          <a:p>
            <a:pPr>
              <a:spcAft>
                <a:spcPts val="3600"/>
              </a:spcAft>
            </a:pPr>
            <a:r>
              <a:rPr lang="de-DE" b="1">
                <a:solidFill>
                  <a:schemeClr val="bg1"/>
                </a:solidFill>
              </a:rPr>
              <a:t>Einbindung relevanter Akteure in Bestands- und Potentialanalyse                </a:t>
            </a:r>
            <a:r>
              <a:rPr lang="de-DE" sz="1200">
                <a:solidFill>
                  <a:schemeClr val="bg1"/>
                </a:solidFill>
              </a:rPr>
              <a:t>(z.B. Schornsteinfeger, Forstamt, Abwasserverband, etc.)</a:t>
            </a:r>
          </a:p>
          <a:p>
            <a:pPr>
              <a:spcAft>
                <a:spcPts val="3600"/>
              </a:spcAft>
            </a:pPr>
            <a:r>
              <a:rPr lang="de-DE" b="1">
                <a:solidFill>
                  <a:schemeClr val="bg1"/>
                </a:solidFill>
              </a:rPr>
              <a:t>Bürgerbeteiligung in der Öffentlichkeitsveranstaltung</a:t>
            </a:r>
          </a:p>
          <a:p>
            <a:pPr>
              <a:spcAft>
                <a:spcPts val="3600"/>
              </a:spcAft>
            </a:pPr>
            <a:r>
              <a:rPr lang="de-DE" b="1">
                <a:solidFill>
                  <a:schemeClr val="bg1"/>
                </a:solidFill>
              </a:rPr>
              <a:t>30 Tage Offenlage und Möglichkeit zur Stellungnahm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E4FA9960-B3B9-47F2-FC4E-58E6ADEC0169}"/>
              </a:ext>
            </a:extLst>
          </p:cNvPr>
          <p:cNvGrpSpPr/>
          <p:nvPr/>
        </p:nvGrpSpPr>
        <p:grpSpPr>
          <a:xfrm>
            <a:off x="1065843" y="2143594"/>
            <a:ext cx="371038" cy="3604798"/>
            <a:chOff x="1086391" y="2143594"/>
            <a:chExt cx="371038" cy="3604798"/>
          </a:xfrm>
        </p:grpSpPr>
        <p:sp>
          <p:nvSpPr>
            <p:cNvPr id="20" name="Textplatzhalter 2">
              <a:extLst>
                <a:ext uri="{FF2B5EF4-FFF2-40B4-BE49-F238E27FC236}">
                  <a16:creationId xmlns:a16="http://schemas.microsoft.com/office/drawing/2014/main" id="{319AB298-D9A0-F2AF-AA76-478FF7E3F7D1}"/>
                </a:ext>
              </a:extLst>
            </p:cNvPr>
            <p:cNvSpPr txBox="1">
              <a:spLocks/>
            </p:cNvSpPr>
            <p:nvPr/>
          </p:nvSpPr>
          <p:spPr>
            <a:xfrm>
              <a:off x="1086391" y="2143594"/>
              <a:ext cx="371038" cy="393837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i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>
                  <a:tab pos="72000" algn="l"/>
                </a:tabLst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SzPct val="140000"/>
                <a:buFont typeface="Innogy" panose="020B0503040000020003" pitchFamily="34" charset="0"/>
                <a:buChar char="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4000">
                  <a:solidFill>
                    <a:srgbClr val="FDC300"/>
                  </a:solidFill>
                </a:rPr>
                <a:t>1</a:t>
              </a:r>
            </a:p>
          </p:txBody>
        </p:sp>
        <p:sp>
          <p:nvSpPr>
            <p:cNvPr id="21" name="Textplatzhalter 2">
              <a:extLst>
                <a:ext uri="{FF2B5EF4-FFF2-40B4-BE49-F238E27FC236}">
                  <a16:creationId xmlns:a16="http://schemas.microsoft.com/office/drawing/2014/main" id="{930B0D0C-55F7-B6F7-B724-37CAC7A4D9EE}"/>
                </a:ext>
              </a:extLst>
            </p:cNvPr>
            <p:cNvSpPr txBox="1">
              <a:spLocks/>
            </p:cNvSpPr>
            <p:nvPr/>
          </p:nvSpPr>
          <p:spPr>
            <a:xfrm>
              <a:off x="1086391" y="3213914"/>
              <a:ext cx="371038" cy="393837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i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>
                  <a:tab pos="72000" algn="l"/>
                </a:tabLst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SzPct val="140000"/>
                <a:buFont typeface="Innogy" panose="020B0503040000020003" pitchFamily="34" charset="0"/>
                <a:buChar char="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4000">
                  <a:solidFill>
                    <a:srgbClr val="FDC300"/>
                  </a:solidFill>
                </a:rPr>
                <a:t>2</a:t>
              </a:r>
            </a:p>
          </p:txBody>
        </p:sp>
        <p:sp>
          <p:nvSpPr>
            <p:cNvPr id="22" name="Textplatzhalter 2">
              <a:extLst>
                <a:ext uri="{FF2B5EF4-FFF2-40B4-BE49-F238E27FC236}">
                  <a16:creationId xmlns:a16="http://schemas.microsoft.com/office/drawing/2014/main" id="{9E7CA45F-6379-52D3-7899-4E11CC7B0017}"/>
                </a:ext>
              </a:extLst>
            </p:cNvPr>
            <p:cNvSpPr txBox="1">
              <a:spLocks/>
            </p:cNvSpPr>
            <p:nvPr/>
          </p:nvSpPr>
          <p:spPr>
            <a:xfrm>
              <a:off x="1086391" y="4366426"/>
              <a:ext cx="371038" cy="393837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i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>
                  <a:tab pos="72000" algn="l"/>
                </a:tabLst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SzPct val="140000"/>
                <a:buFont typeface="Innogy" panose="020B0503040000020003" pitchFamily="34" charset="0"/>
                <a:buChar char="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4000">
                  <a:solidFill>
                    <a:srgbClr val="FDC300"/>
                  </a:solidFill>
                </a:rPr>
                <a:t>3</a:t>
              </a:r>
            </a:p>
          </p:txBody>
        </p:sp>
        <p:sp>
          <p:nvSpPr>
            <p:cNvPr id="23" name="Textplatzhalter 2">
              <a:extLst>
                <a:ext uri="{FF2B5EF4-FFF2-40B4-BE49-F238E27FC236}">
                  <a16:creationId xmlns:a16="http://schemas.microsoft.com/office/drawing/2014/main" id="{E69AA65A-1C3A-33D2-149B-391FC9ED26D2}"/>
                </a:ext>
              </a:extLst>
            </p:cNvPr>
            <p:cNvSpPr txBox="1">
              <a:spLocks/>
            </p:cNvSpPr>
            <p:nvPr/>
          </p:nvSpPr>
          <p:spPr>
            <a:xfrm>
              <a:off x="1086391" y="5354555"/>
              <a:ext cx="371038" cy="393837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i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>
                  <a:tab pos="72000" algn="l"/>
                </a:tabLst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SzPct val="140000"/>
                <a:buFont typeface="Innogy" panose="020B0503040000020003" pitchFamily="34" charset="0"/>
                <a:buChar char="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1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4000">
                  <a:solidFill>
                    <a:srgbClr val="FDC300"/>
                  </a:solidFill>
                </a:rPr>
                <a:t>4</a:t>
              </a:r>
            </a:p>
          </p:txBody>
        </p:sp>
      </p:grpSp>
      <p:pic>
        <p:nvPicPr>
          <p:cNvPr id="10" name="Grafik 9" descr="Ein Bild, das Mann, Im Haus, Kleidung, Person enthält.&#10;&#10;KI-generierte Inhalte können fehlerhaft sein.">
            <a:extLst>
              <a:ext uri="{FF2B5EF4-FFF2-40B4-BE49-F238E27FC236}">
                <a16:creationId xmlns:a16="http://schemas.microsoft.com/office/drawing/2014/main" id="{9973F6E3-500D-F428-03B7-727BED8C4B6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5063" y="2353253"/>
            <a:ext cx="5754370" cy="323215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835182A-F391-5089-4568-2953094534B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9552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B7B986-B38A-C492-E119-77F6FBB19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53EDD9D-53BB-41FE-F25C-C58262480B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03172" y="549275"/>
            <a:ext cx="9853866" cy="3023702"/>
          </a:xfrm>
        </p:spPr>
        <p:txBody>
          <a:bodyPr/>
          <a:lstStyle/>
          <a:p>
            <a:r>
              <a:rPr lang="de-DE"/>
              <a:t>Fragen &amp; Diskuss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7A81A0-DBCC-91BC-FBD7-01F63783D7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noProof="0"/>
              <a:t>5</a:t>
            </a:r>
          </a:p>
        </p:txBody>
      </p:sp>
      <p:pic>
        <p:nvPicPr>
          <p:cNvPr id="5" name="Grafik 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C4E6DCE-82C0-0BB6-5FDC-E723E3F064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8828" y="5085184"/>
            <a:ext cx="1672417" cy="361466"/>
          </a:xfrm>
          <a:prstGeom prst="rect">
            <a:avLst/>
          </a:prstGeom>
        </p:spPr>
      </p:pic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A7A35247-649E-A882-83B8-B43EA168FEFE}"/>
              </a:ext>
            </a:extLst>
          </p:cNvPr>
          <p:cNvSpPr/>
          <p:nvPr/>
        </p:nvSpPr>
        <p:spPr>
          <a:xfrm>
            <a:off x="9020705" y="239240"/>
            <a:ext cx="2912208" cy="1172110"/>
          </a:xfrm>
          <a:prstGeom prst="roundRect">
            <a:avLst>
              <a:gd name="adj" fmla="val 16654"/>
            </a:avLst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pic>
        <p:nvPicPr>
          <p:cNvPr id="10" name="Grafik 9" descr="Ein Bild, das Text, Screenshot, Visitenkarte, Schrift enthält.&#10;&#10;KI-generierte Inhalte können fehlerhaft sein.">
            <a:extLst>
              <a:ext uri="{FF2B5EF4-FFF2-40B4-BE49-F238E27FC236}">
                <a16:creationId xmlns:a16="http://schemas.microsoft.com/office/drawing/2014/main" id="{41EBCEBE-944A-9851-8661-A94FCAB5D3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7977" y="4077675"/>
            <a:ext cx="1714118" cy="7154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4949A6E-A45C-E4B9-8A9D-A3CEF30504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53609" y="458435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881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D8AF235-FA3E-276C-C492-99C51DAD09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noProof="0"/>
              <a:t>Vielen Dank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3B42870-866A-7EF3-9B98-23ACC602F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92971" y="4263775"/>
            <a:ext cx="2670132" cy="5882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5A1D1DD-D239-D6F8-FF81-D44EF5A7E4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9128" y="4926917"/>
            <a:ext cx="1074247" cy="1074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3043ADFD-F0EC-8E78-795A-8AD0B550219F}"/>
              </a:ext>
            </a:extLst>
          </p:cNvPr>
          <p:cNvSpPr txBox="1"/>
          <p:nvPr/>
        </p:nvSpPr>
        <p:spPr>
          <a:xfrm>
            <a:off x="6665023" y="6001164"/>
            <a:ext cx="16137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uewag.com/</a:t>
            </a:r>
            <a:br>
              <a:rPr lang="de-DE" sz="100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de-DE" sz="100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mmunale-waermeplanung</a:t>
            </a:r>
            <a:endParaRPr lang="de-DE" sz="100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A2CB4B5-9306-5F25-E485-1458704B28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04837" y="3062139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2100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C3EB9B9-6453-12F3-2A65-DD93FB6438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71D09CF-8BC6-4E2B-4D7A-EA6A99F699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noProof="0"/>
              <a:t>Backup Foli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5A12A87-EFC8-D643-FFE2-0217690875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92971" y="4263775"/>
            <a:ext cx="2670132" cy="5882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D3C93AF-3772-E07B-0A0E-51CCDA311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9128" y="4926917"/>
            <a:ext cx="1074247" cy="1074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5B6C7142-17E4-59E4-A68B-884E826B4D35}"/>
              </a:ext>
            </a:extLst>
          </p:cNvPr>
          <p:cNvSpPr txBox="1"/>
          <p:nvPr/>
        </p:nvSpPr>
        <p:spPr>
          <a:xfrm>
            <a:off x="6665023" y="6001164"/>
            <a:ext cx="17335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uewag.com/kommunale-waermeplanung</a:t>
            </a:r>
            <a:endParaRPr lang="de-DE" sz="1000"/>
          </a:p>
        </p:txBody>
      </p:sp>
      <p:pic>
        <p:nvPicPr>
          <p:cNvPr id="5" name="Grafik 4" descr="Ein Bild, das Text, Screenshot, Visitenkarte, Schrift enthält.&#10;&#10;KI-generierte Inhalte können fehlerhaft sein.">
            <a:extLst>
              <a:ext uri="{FF2B5EF4-FFF2-40B4-BE49-F238E27FC236}">
                <a16:creationId xmlns:a16="http://schemas.microsoft.com/office/drawing/2014/main" id="{F6E21212-3189-7269-1236-F170C96EDB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12897" y="1287762"/>
            <a:ext cx="3230279" cy="13483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F29DD4DF-51A0-372F-91D5-CF78C591BA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04837" y="3062139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4077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8E3BF6-0058-1A1B-1841-1C70AB71D0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6AF90785-FFF2-8F39-A19A-B0C975DEC09D}"/>
              </a:ext>
            </a:extLst>
          </p:cNvPr>
          <p:cNvSpPr/>
          <p:nvPr/>
        </p:nvSpPr>
        <p:spPr>
          <a:xfrm>
            <a:off x="9020705" y="239240"/>
            <a:ext cx="2912208" cy="1172110"/>
          </a:xfrm>
          <a:prstGeom prst="roundRect">
            <a:avLst>
              <a:gd name="adj" fmla="val 16654"/>
            </a:avLst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28EE8BC-D092-DE28-2B7F-107F2B71E9D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03172" y="549275"/>
            <a:ext cx="9422066" cy="3023702"/>
          </a:xfrm>
        </p:spPr>
        <p:txBody>
          <a:bodyPr/>
          <a:lstStyle/>
          <a:p>
            <a:r>
              <a:rPr lang="de-DE"/>
              <a:t>Kommunale Wärmeplanung &amp; rechtliche Grundla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2F0624-419B-B674-531E-0E9BA867A57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noProof="0"/>
              <a:t>1</a:t>
            </a:r>
          </a:p>
        </p:txBody>
      </p:sp>
      <p:pic>
        <p:nvPicPr>
          <p:cNvPr id="5" name="Grafik 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DBC8A62-5179-94FF-F657-F9F481C9D5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88828" y="5085184"/>
            <a:ext cx="1672417" cy="361466"/>
          </a:xfrm>
          <a:prstGeom prst="rect">
            <a:avLst/>
          </a:prstGeom>
        </p:spPr>
      </p:pic>
      <p:pic>
        <p:nvPicPr>
          <p:cNvPr id="9" name="Grafik 8" descr="Ein Bild, das Text, Screenshot, Visitenkarte, Schrift enthält.&#10;&#10;KI-generierte Inhalte können fehlerhaft sein.">
            <a:extLst>
              <a:ext uri="{FF2B5EF4-FFF2-40B4-BE49-F238E27FC236}">
                <a16:creationId xmlns:a16="http://schemas.microsoft.com/office/drawing/2014/main" id="{A62A4456-A2C5-5F0F-FF92-5D0EEA00F8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7977" y="4077675"/>
            <a:ext cx="1714118" cy="7154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698EB76-A0DE-1E49-884E-32F36FD246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53609" y="458435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6931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BFA6E9-30C7-AFAA-28DE-3A831FC44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ärme entscheidet über Erfolg der Energiewende</a:t>
            </a:r>
            <a:br>
              <a:rPr lang="de-DE"/>
            </a:br>
            <a:r>
              <a:rPr lang="de-DE" sz="2400"/>
              <a:t>Der große Hebel für Klimaschutz und zukünftige Energiekos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412FEE1-509F-0A2B-7E0E-3B35D6B459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62F485B-0C90-1DDA-A40C-96D1EB83711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B2E8896E-B4DE-0FCF-B693-3FBABEEE3636}"/>
              </a:ext>
            </a:extLst>
          </p:cNvPr>
          <p:cNvGrpSpPr/>
          <p:nvPr/>
        </p:nvGrpSpPr>
        <p:grpSpPr>
          <a:xfrm>
            <a:off x="-782401" y="1374456"/>
            <a:ext cx="8427563" cy="4510199"/>
            <a:chOff x="0" y="1958919"/>
            <a:chExt cx="7277113" cy="3894510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896A9814-526F-5F96-1AEF-603D3A3FC333}"/>
                </a:ext>
              </a:extLst>
            </p:cNvPr>
            <p:cNvGrpSpPr/>
            <p:nvPr/>
          </p:nvGrpSpPr>
          <p:grpSpPr>
            <a:xfrm>
              <a:off x="0" y="1958919"/>
              <a:ext cx="7277113" cy="3894510"/>
              <a:chOff x="0" y="1958919"/>
              <a:chExt cx="7277113" cy="3894510"/>
            </a:xfrm>
          </p:grpSpPr>
          <p:pic>
            <p:nvPicPr>
              <p:cNvPr id="6" name="Grafik 5">
                <a:extLst>
                  <a:ext uri="{FF2B5EF4-FFF2-40B4-BE49-F238E27FC236}">
                    <a16:creationId xmlns:a16="http://schemas.microsoft.com/office/drawing/2014/main" id="{31093D26-B6F8-B062-4EA3-75EE12AD2D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0" y="1958919"/>
                <a:ext cx="7277113" cy="3894510"/>
              </a:xfrm>
              <a:prstGeom prst="rect">
                <a:avLst/>
              </a:prstGeom>
            </p:spPr>
          </p:pic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571D3F22-4C98-7B94-1D29-1C3FF852D447}"/>
                  </a:ext>
                </a:extLst>
              </p:cNvPr>
              <p:cNvSpPr/>
              <p:nvPr/>
            </p:nvSpPr>
            <p:spPr>
              <a:xfrm>
                <a:off x="2092751" y="1958919"/>
                <a:ext cx="3261674" cy="4382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de-DE" sz="160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8" name="Grafik 7" descr="Dusche mit einfarbiger Füllung">
              <a:extLst>
                <a:ext uri="{FF2B5EF4-FFF2-40B4-BE49-F238E27FC236}">
                  <a16:creationId xmlns:a16="http://schemas.microsoft.com/office/drawing/2014/main" id="{5210193A-55D8-B1F4-C2CF-97859A0D1FC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494337" y="3648808"/>
              <a:ext cx="540000" cy="540000"/>
            </a:xfrm>
            <a:prstGeom prst="rect">
              <a:avLst/>
            </a:prstGeom>
          </p:spPr>
        </p:pic>
        <p:pic>
          <p:nvPicPr>
            <p:cNvPr id="9" name="Grafik 8" descr="Feuer mit einfarbiger Füllung">
              <a:extLst>
                <a:ext uri="{FF2B5EF4-FFF2-40B4-BE49-F238E27FC236}">
                  <a16:creationId xmlns:a16="http://schemas.microsoft.com/office/drawing/2014/main" id="{8DEE7406-0569-3B16-DDE4-5D3DC0B514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17734" y="4051944"/>
              <a:ext cx="540000" cy="540000"/>
            </a:xfrm>
            <a:prstGeom prst="rect">
              <a:avLst/>
            </a:prstGeom>
          </p:spPr>
        </p:pic>
        <p:pic>
          <p:nvPicPr>
            <p:cNvPr id="10" name="Grafik 9" descr="Strommast mit einfarbiger Füllung">
              <a:extLst>
                <a:ext uri="{FF2B5EF4-FFF2-40B4-BE49-F238E27FC236}">
                  <a16:creationId xmlns:a16="http://schemas.microsoft.com/office/drawing/2014/main" id="{FB1356BE-3EC9-7CB7-4910-E084CC2741D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038315" y="2889000"/>
              <a:ext cx="540000" cy="540000"/>
            </a:xfrm>
            <a:prstGeom prst="rect">
              <a:avLst/>
            </a:prstGeom>
          </p:spPr>
        </p:pic>
      </p:grpSp>
      <p:sp>
        <p:nvSpPr>
          <p:cNvPr id="12" name="Textfeld 11">
            <a:extLst>
              <a:ext uri="{FF2B5EF4-FFF2-40B4-BE49-F238E27FC236}">
                <a16:creationId xmlns:a16="http://schemas.microsoft.com/office/drawing/2014/main" id="{7CF85ECE-951F-C791-5F2E-B047066FFF52}"/>
              </a:ext>
            </a:extLst>
          </p:cNvPr>
          <p:cNvSpPr txBox="1"/>
          <p:nvPr/>
        </p:nvSpPr>
        <p:spPr>
          <a:xfrm>
            <a:off x="7152071" y="2739677"/>
            <a:ext cx="3786019" cy="21082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de-DE" sz="7200" b="1">
                <a:solidFill>
                  <a:schemeClr val="accent2"/>
                </a:solidFill>
              </a:rPr>
              <a:t>&gt;80% </a:t>
            </a:r>
          </a:p>
          <a:p>
            <a:pPr>
              <a:spcAft>
                <a:spcPts val="600"/>
              </a:spcAft>
            </a:pPr>
            <a:r>
              <a:rPr lang="de-DE" sz="2000">
                <a:solidFill>
                  <a:schemeClr val="accent2"/>
                </a:solidFill>
              </a:rPr>
              <a:t>der Energie in </a:t>
            </a:r>
            <a:r>
              <a:rPr lang="de-DE" sz="2000" b="1">
                <a:solidFill>
                  <a:schemeClr val="accent2"/>
                </a:solidFill>
              </a:rPr>
              <a:t>privaten Haushalten </a:t>
            </a:r>
            <a:r>
              <a:rPr lang="de-DE" sz="2000">
                <a:solidFill>
                  <a:schemeClr val="accent2"/>
                </a:solidFill>
              </a:rPr>
              <a:t>wird für die Raumwärme und Warmwasser verwendet.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B3E2056-CC5D-705D-09F7-EF91568F83B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8940B477-ADA1-5230-958F-D7200DBBE98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2215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afik 36">
            <a:extLst>
              <a:ext uri="{FF2B5EF4-FFF2-40B4-BE49-F238E27FC236}">
                <a16:creationId xmlns:a16="http://schemas.microsoft.com/office/drawing/2014/main" id="{566DBFB1-261D-BBCA-6EB4-1A53A13A9B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7A950E1-FE8C-3CF3-B65D-CA2F76DDB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ärmeplanung ist Pflicht und schafft Orientierung</a:t>
            </a:r>
            <a:br>
              <a:rPr lang="de-DE"/>
            </a:br>
            <a:r>
              <a:rPr lang="de-DE" sz="2400"/>
              <a:t>Ab 2028 braucht jede Kommune einen Wärmeplan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9603B7-4A5E-2888-BAC9-A00C8935A23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00BDA67-00FC-5C8D-8476-68CB1F7FA7D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477B36F9-1A20-75FB-FD98-09A53A257B89}"/>
              </a:ext>
            </a:extLst>
          </p:cNvPr>
          <p:cNvSpPr/>
          <p:nvPr/>
        </p:nvSpPr>
        <p:spPr>
          <a:xfrm>
            <a:off x="6197426" y="5792543"/>
            <a:ext cx="5232363" cy="552695"/>
          </a:xfrm>
          <a:custGeom>
            <a:avLst/>
            <a:gdLst>
              <a:gd name="connsiteX0" fmla="*/ 0 w 6933183"/>
              <a:gd name="connsiteY0" fmla="*/ 0 h 570477"/>
              <a:gd name="connsiteX1" fmla="*/ 6933183 w 6933183"/>
              <a:gd name="connsiteY1" fmla="*/ 0 h 570477"/>
              <a:gd name="connsiteX2" fmla="*/ 6933183 w 6933183"/>
              <a:gd name="connsiteY2" fmla="*/ 570477 h 570477"/>
              <a:gd name="connsiteX3" fmla="*/ 0 w 6933183"/>
              <a:gd name="connsiteY3" fmla="*/ 570477 h 570477"/>
              <a:gd name="connsiteX4" fmla="*/ 0 w 6933183"/>
              <a:gd name="connsiteY4" fmla="*/ 0 h 5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3183" h="570477">
                <a:moveTo>
                  <a:pt x="0" y="0"/>
                </a:moveTo>
                <a:lnTo>
                  <a:pt x="6933183" y="0"/>
                </a:lnTo>
                <a:lnTo>
                  <a:pt x="6933183" y="570477"/>
                </a:lnTo>
                <a:lnTo>
                  <a:pt x="0" y="5704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480000" tIns="57573" rIns="57573" bIns="57573" numCol="1" spcCol="1270" anchor="ctr" anchorCtr="0">
            <a:noAutofit/>
          </a:bodyPr>
          <a:lstStyle/>
          <a:p>
            <a:pPr defTabSz="10075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de-DE" sz="1467" kern="0">
                <a:solidFill>
                  <a:srgbClr val="FFFFFF"/>
                </a:solidFill>
              </a:rPr>
              <a:t>7. Kommunikationsstrategie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7D4B3146-9D6B-7EC6-DC69-C9E4B554A961}"/>
              </a:ext>
            </a:extLst>
          </p:cNvPr>
          <p:cNvSpPr/>
          <p:nvPr/>
        </p:nvSpPr>
        <p:spPr>
          <a:xfrm>
            <a:off x="5831607" y="5784339"/>
            <a:ext cx="583891" cy="603552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/>
          <a:lstStyle/>
          <a:p>
            <a:pPr defTabSz="1219170">
              <a:defRPr/>
            </a:pPr>
            <a:endParaRPr lang="de-DE" sz="1467" kern="0">
              <a:solidFill>
                <a:srgbClr val="0A5473">
                  <a:hueOff val="0"/>
                  <a:satOff val="0"/>
                  <a:lumOff val="0"/>
                  <a:alphaOff val="0"/>
                </a:srgbClr>
              </a:solidFill>
            </a:endParaRP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F96EAD3F-252C-52BC-FCA5-F1228A9A089F}"/>
              </a:ext>
            </a:extLst>
          </p:cNvPr>
          <p:cNvSpPr/>
          <p:nvPr/>
        </p:nvSpPr>
        <p:spPr>
          <a:xfrm>
            <a:off x="6202500" y="1968423"/>
            <a:ext cx="5227443" cy="552695"/>
          </a:xfrm>
          <a:custGeom>
            <a:avLst/>
            <a:gdLst>
              <a:gd name="connsiteX0" fmla="*/ 0 w 6933183"/>
              <a:gd name="connsiteY0" fmla="*/ 0 h 570477"/>
              <a:gd name="connsiteX1" fmla="*/ 6933183 w 6933183"/>
              <a:gd name="connsiteY1" fmla="*/ 0 h 570477"/>
              <a:gd name="connsiteX2" fmla="*/ 6933183 w 6933183"/>
              <a:gd name="connsiteY2" fmla="*/ 570477 h 570477"/>
              <a:gd name="connsiteX3" fmla="*/ 0 w 6933183"/>
              <a:gd name="connsiteY3" fmla="*/ 570477 h 570477"/>
              <a:gd name="connsiteX4" fmla="*/ 0 w 6933183"/>
              <a:gd name="connsiteY4" fmla="*/ 0 h 5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3183" h="570477">
                <a:moveTo>
                  <a:pt x="0" y="0"/>
                </a:moveTo>
                <a:lnTo>
                  <a:pt x="6933183" y="0"/>
                </a:lnTo>
                <a:lnTo>
                  <a:pt x="6933183" y="570477"/>
                </a:lnTo>
                <a:lnTo>
                  <a:pt x="0" y="5704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432000" tIns="57573" rIns="57573" bIns="57573" numCol="1" spcCol="1270" anchor="ctr" anchorCtr="0">
            <a:noAutofit/>
          </a:bodyPr>
          <a:lstStyle/>
          <a:p>
            <a:pPr defTabSz="10075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de-DE" sz="1467" kern="0">
                <a:solidFill>
                  <a:srgbClr val="FFFFFF"/>
                </a:solidFill>
              </a:rPr>
              <a:t> </a:t>
            </a:r>
            <a:r>
              <a:rPr lang="de-DE" sz="1400" kern="0">
                <a:solidFill>
                  <a:srgbClr val="FFFFFF"/>
                </a:solidFill>
              </a:rPr>
              <a:t>1. Bestandsanalyse (§15)</a:t>
            </a:r>
            <a:endParaRPr lang="de-DE" sz="1467" kern="0">
              <a:solidFill>
                <a:srgbClr val="FFFFFF"/>
              </a:solidFill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C15E4F23-5FBC-C3A6-372A-A14FE35896AB}"/>
              </a:ext>
            </a:extLst>
          </p:cNvPr>
          <p:cNvSpPr/>
          <p:nvPr/>
        </p:nvSpPr>
        <p:spPr>
          <a:xfrm>
            <a:off x="5822870" y="1952325"/>
            <a:ext cx="583889" cy="603552"/>
          </a:xfrm>
          <a:prstGeom prst="ellipse">
            <a:avLst/>
          </a:prstGeom>
          <a:solidFill>
            <a:srgbClr val="FFFFFF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/>
          <a:lstStyle/>
          <a:p>
            <a:pPr defTabSz="1219170">
              <a:defRPr/>
            </a:pPr>
            <a:endParaRPr lang="de-DE" sz="1467" kern="0">
              <a:solidFill>
                <a:srgbClr val="0A5473">
                  <a:hueOff val="0"/>
                  <a:satOff val="0"/>
                  <a:lumOff val="0"/>
                  <a:alphaOff val="0"/>
                </a:srgbClr>
              </a:solidFill>
            </a:endParaRPr>
          </a:p>
        </p:txBody>
      </p:sp>
      <p:pic>
        <p:nvPicPr>
          <p:cNvPr id="10" name="Grafik 9" descr="Recherche mit einfarbiger Füllung">
            <a:extLst>
              <a:ext uri="{FF2B5EF4-FFF2-40B4-BE49-F238E27FC236}">
                <a16:creationId xmlns:a16="http://schemas.microsoft.com/office/drawing/2014/main" id="{31F14159-3F2B-DC92-4CB0-86EF641B2DA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78378" y="1980509"/>
            <a:ext cx="526239" cy="523168"/>
          </a:xfrm>
          <a:prstGeom prst="rect">
            <a:avLst/>
          </a:prstGeom>
        </p:spPr>
      </p:pic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64F2E348-3C1C-F103-5107-93C3243CF1B5}"/>
              </a:ext>
            </a:extLst>
          </p:cNvPr>
          <p:cNvSpPr/>
          <p:nvPr/>
        </p:nvSpPr>
        <p:spPr>
          <a:xfrm>
            <a:off x="6202500" y="2606035"/>
            <a:ext cx="5227443" cy="552695"/>
          </a:xfrm>
          <a:custGeom>
            <a:avLst/>
            <a:gdLst>
              <a:gd name="connsiteX0" fmla="*/ 0 w 7147763"/>
              <a:gd name="connsiteY0" fmla="*/ 0 h 570477"/>
              <a:gd name="connsiteX1" fmla="*/ 7147763 w 7147763"/>
              <a:gd name="connsiteY1" fmla="*/ 0 h 570477"/>
              <a:gd name="connsiteX2" fmla="*/ 7147763 w 7147763"/>
              <a:gd name="connsiteY2" fmla="*/ 570477 h 570477"/>
              <a:gd name="connsiteX3" fmla="*/ 0 w 7147763"/>
              <a:gd name="connsiteY3" fmla="*/ 570477 h 570477"/>
              <a:gd name="connsiteX4" fmla="*/ 0 w 7147763"/>
              <a:gd name="connsiteY4" fmla="*/ 0 h 5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47763" h="570477">
                <a:moveTo>
                  <a:pt x="0" y="0"/>
                </a:moveTo>
                <a:lnTo>
                  <a:pt x="7147763" y="0"/>
                </a:lnTo>
                <a:lnTo>
                  <a:pt x="7147763" y="570477"/>
                </a:lnTo>
                <a:lnTo>
                  <a:pt x="0" y="5704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384000" tIns="57573" rIns="57573" bIns="57573" numCol="1" spcCol="1270" anchor="ctr" anchorCtr="0">
            <a:noAutofit/>
          </a:bodyPr>
          <a:lstStyle/>
          <a:p>
            <a:pPr defTabSz="10075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de-DE" sz="1467" kern="0">
                <a:solidFill>
                  <a:srgbClr val="FFFFFF"/>
                </a:solidFill>
              </a:rPr>
              <a:t>  </a:t>
            </a:r>
            <a:r>
              <a:rPr lang="de-DE" sz="1400" kern="0">
                <a:solidFill>
                  <a:srgbClr val="FFFFFF"/>
                </a:solidFill>
              </a:rPr>
              <a:t>2. Potenzialanalyse (§16)</a:t>
            </a:r>
            <a:endParaRPr lang="de-DE" sz="1467" kern="0">
              <a:solidFill>
                <a:srgbClr val="FFFFFF"/>
              </a:solidFill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F5E5D576-DF02-2014-EF1C-2BC02279F1FC}"/>
              </a:ext>
            </a:extLst>
          </p:cNvPr>
          <p:cNvSpPr/>
          <p:nvPr/>
        </p:nvSpPr>
        <p:spPr>
          <a:xfrm>
            <a:off x="5849842" y="2580532"/>
            <a:ext cx="583889" cy="603552"/>
          </a:xfrm>
          <a:prstGeom prst="ellipse">
            <a:avLst/>
          </a:prstGeom>
          <a:solidFill>
            <a:srgbClr val="FFFFFF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/>
          <a:lstStyle/>
          <a:p>
            <a:pPr defTabSz="1219170">
              <a:defRPr/>
            </a:pPr>
            <a:endParaRPr lang="de-DE" sz="1467" kern="0">
              <a:solidFill>
                <a:srgbClr val="0A5473">
                  <a:hueOff val="0"/>
                  <a:satOff val="0"/>
                  <a:lumOff val="0"/>
                  <a:alphaOff val="0"/>
                </a:srgbClr>
              </a:solidFill>
            </a:endParaRPr>
          </a:p>
        </p:txBody>
      </p:sp>
      <p:pic>
        <p:nvPicPr>
          <p:cNvPr id="13" name="Grafik 12" descr="Solarmodule mit einfarbiger Füllung">
            <a:extLst>
              <a:ext uri="{FF2B5EF4-FFF2-40B4-BE49-F238E27FC236}">
                <a16:creationId xmlns:a16="http://schemas.microsoft.com/office/drawing/2014/main" id="{B4C2F720-993E-474D-C77C-8E7B6F0C520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896625" y="2603910"/>
            <a:ext cx="489747" cy="486889"/>
          </a:xfrm>
          <a:prstGeom prst="rect">
            <a:avLst/>
          </a:prstGeom>
        </p:spPr>
      </p:pic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F2CCC28B-D0ED-A778-BE89-F0ED827EE34A}"/>
              </a:ext>
            </a:extLst>
          </p:cNvPr>
          <p:cNvSpPr/>
          <p:nvPr/>
        </p:nvSpPr>
        <p:spPr>
          <a:xfrm>
            <a:off x="6202494" y="3243647"/>
            <a:ext cx="5227445" cy="552695"/>
          </a:xfrm>
          <a:custGeom>
            <a:avLst/>
            <a:gdLst>
              <a:gd name="connsiteX0" fmla="*/ 0 w 6933183"/>
              <a:gd name="connsiteY0" fmla="*/ 0 h 570477"/>
              <a:gd name="connsiteX1" fmla="*/ 6933183 w 6933183"/>
              <a:gd name="connsiteY1" fmla="*/ 0 h 570477"/>
              <a:gd name="connsiteX2" fmla="*/ 6933183 w 6933183"/>
              <a:gd name="connsiteY2" fmla="*/ 570477 h 570477"/>
              <a:gd name="connsiteX3" fmla="*/ 0 w 6933183"/>
              <a:gd name="connsiteY3" fmla="*/ 570477 h 570477"/>
              <a:gd name="connsiteX4" fmla="*/ 0 w 6933183"/>
              <a:gd name="connsiteY4" fmla="*/ 0 h 5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3183" h="570477">
                <a:moveTo>
                  <a:pt x="0" y="0"/>
                </a:moveTo>
                <a:lnTo>
                  <a:pt x="6933183" y="0"/>
                </a:lnTo>
                <a:lnTo>
                  <a:pt x="6933183" y="570477"/>
                </a:lnTo>
                <a:lnTo>
                  <a:pt x="0" y="5704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384000" tIns="57573" rIns="57573" bIns="57573" numCol="1" spcCol="1270" anchor="ctr" anchorCtr="0">
            <a:noAutofit/>
          </a:bodyPr>
          <a:lstStyle/>
          <a:p>
            <a:pPr defTabSz="10075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de-DE" sz="1467" kern="0">
                <a:solidFill>
                  <a:srgbClr val="FFFFFF"/>
                </a:solidFill>
              </a:rPr>
              <a:t>  </a:t>
            </a:r>
            <a:r>
              <a:rPr lang="de-DE" sz="1400" kern="0">
                <a:solidFill>
                  <a:srgbClr val="FFFFFF"/>
                </a:solidFill>
              </a:rPr>
              <a:t>3. Entwicklung von Zielszenarien (§17), Strategie und  </a:t>
            </a:r>
            <a:br>
              <a:rPr lang="de-DE" sz="1400" kern="0">
                <a:solidFill>
                  <a:srgbClr val="FFFFFF"/>
                </a:solidFill>
              </a:rPr>
            </a:br>
            <a:r>
              <a:rPr lang="de-DE" sz="1400" kern="0">
                <a:solidFill>
                  <a:srgbClr val="FFFFFF"/>
                </a:solidFill>
              </a:rPr>
              <a:t>       Maßnahmenkatalog (§20)</a:t>
            </a:r>
            <a:endParaRPr lang="de-DE" sz="1467" kern="0">
              <a:solidFill>
                <a:srgbClr val="FFFFFF"/>
              </a:solidFill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392D783D-6DB0-7A00-5C7A-E18A99F53329}"/>
              </a:ext>
            </a:extLst>
          </p:cNvPr>
          <p:cNvSpPr/>
          <p:nvPr/>
        </p:nvSpPr>
        <p:spPr>
          <a:xfrm>
            <a:off x="5855062" y="3229420"/>
            <a:ext cx="583889" cy="60355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/>
          <a:lstStyle/>
          <a:p>
            <a:pPr defTabSz="1219170">
              <a:defRPr/>
            </a:pPr>
            <a:endParaRPr lang="de-DE" sz="1467" kern="0">
              <a:solidFill>
                <a:srgbClr val="0A5473">
                  <a:hueOff val="0"/>
                  <a:satOff val="0"/>
                  <a:lumOff val="0"/>
                  <a:alphaOff val="0"/>
                </a:srgbClr>
              </a:solidFill>
            </a:endParaRPr>
          </a:p>
        </p:txBody>
      </p:sp>
      <p:pic>
        <p:nvPicPr>
          <p:cNvPr id="16" name="Grafik 15" descr="Volltreffer mit einfarbiger Füllung">
            <a:extLst>
              <a:ext uri="{FF2B5EF4-FFF2-40B4-BE49-F238E27FC236}">
                <a16:creationId xmlns:a16="http://schemas.microsoft.com/office/drawing/2014/main" id="{18F6E324-32C5-909A-DDE9-51B05651B26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5899154" y="3268129"/>
            <a:ext cx="484688" cy="523168"/>
          </a:xfrm>
          <a:prstGeom prst="rect">
            <a:avLst/>
          </a:prstGeom>
        </p:spPr>
      </p:pic>
      <p:pic>
        <p:nvPicPr>
          <p:cNvPr id="17" name="Grafik 16" descr="Megafon1 mit einfarbiger Füllung">
            <a:extLst>
              <a:ext uri="{FF2B5EF4-FFF2-40B4-BE49-F238E27FC236}">
                <a16:creationId xmlns:a16="http://schemas.microsoft.com/office/drawing/2014/main" id="{AA9BA47F-30EF-7B4F-6A66-C3FC100D15E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5893365" y="5812433"/>
            <a:ext cx="484688" cy="523168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B62CEEDB-128D-9D08-FF7A-53B4D4E173F8}"/>
              </a:ext>
            </a:extLst>
          </p:cNvPr>
          <p:cNvSpPr/>
          <p:nvPr/>
        </p:nvSpPr>
        <p:spPr bwMode="gray">
          <a:xfrm>
            <a:off x="860444" y="3055083"/>
            <a:ext cx="4494922" cy="2180098"/>
          </a:xfrm>
          <a:prstGeom prst="rect">
            <a:avLst/>
          </a:prstGeom>
          <a:solidFill>
            <a:srgbClr val="009BA4"/>
          </a:solidFill>
          <a:ln cap="sq">
            <a:solidFill>
              <a:schemeClr val="accent2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24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2000" b="1">
                <a:solidFill>
                  <a:schemeClr val="bg1"/>
                </a:solidFill>
              </a:rPr>
              <a:t>Verpflichtung für alle Gemeinden zu der Erstellung einer kommunalen Wärmeplanung bis zum 30.06.2028 nach WP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AA7BA72-B478-4B48-C6ED-DE2F8924BD95}"/>
              </a:ext>
            </a:extLst>
          </p:cNvPr>
          <p:cNvSpPr/>
          <p:nvPr/>
        </p:nvSpPr>
        <p:spPr bwMode="gray">
          <a:xfrm>
            <a:off x="620458" y="2636521"/>
            <a:ext cx="770407" cy="792479"/>
          </a:xfrm>
          <a:prstGeom prst="rect">
            <a:avLst/>
          </a:prstGeom>
          <a:solidFill>
            <a:srgbClr val="FDC300"/>
          </a:solidFill>
          <a:ln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4267">
                <a:solidFill>
                  <a:schemeClr val="bg1"/>
                </a:solidFill>
              </a:rPr>
              <a:t>§</a:t>
            </a:r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2ADA89F5-1769-ECCE-9949-4A24FA090331}"/>
              </a:ext>
            </a:extLst>
          </p:cNvPr>
          <p:cNvSpPr/>
          <p:nvPr/>
        </p:nvSpPr>
        <p:spPr>
          <a:xfrm>
            <a:off x="6197428" y="3875997"/>
            <a:ext cx="5232362" cy="552695"/>
          </a:xfrm>
          <a:custGeom>
            <a:avLst/>
            <a:gdLst>
              <a:gd name="connsiteX0" fmla="*/ 0 w 6933183"/>
              <a:gd name="connsiteY0" fmla="*/ 0 h 570477"/>
              <a:gd name="connsiteX1" fmla="*/ 6933183 w 6933183"/>
              <a:gd name="connsiteY1" fmla="*/ 0 h 570477"/>
              <a:gd name="connsiteX2" fmla="*/ 6933183 w 6933183"/>
              <a:gd name="connsiteY2" fmla="*/ 570477 h 570477"/>
              <a:gd name="connsiteX3" fmla="*/ 0 w 6933183"/>
              <a:gd name="connsiteY3" fmla="*/ 570477 h 570477"/>
              <a:gd name="connsiteX4" fmla="*/ 0 w 6933183"/>
              <a:gd name="connsiteY4" fmla="*/ 0 h 5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3183" h="570477">
                <a:moveTo>
                  <a:pt x="0" y="0"/>
                </a:moveTo>
                <a:lnTo>
                  <a:pt x="6933183" y="0"/>
                </a:lnTo>
                <a:lnTo>
                  <a:pt x="6933183" y="570477"/>
                </a:lnTo>
                <a:lnTo>
                  <a:pt x="0" y="5704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480000" tIns="57573" rIns="57573" bIns="57573" numCol="1" spcCol="1270" anchor="ctr" anchorCtr="0">
            <a:noAutofit/>
          </a:bodyPr>
          <a:lstStyle/>
          <a:p>
            <a:pPr defTabSz="10075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de-DE" sz="1467" kern="0">
                <a:solidFill>
                  <a:srgbClr val="FFFFFF"/>
                </a:solidFill>
              </a:rPr>
              <a:t>4. Beteiligung relevanter Akteure (§7), Teilnahme an </a:t>
            </a:r>
            <a:br>
              <a:rPr lang="de-DE" sz="1467" kern="0">
                <a:solidFill>
                  <a:srgbClr val="FFFFFF"/>
                </a:solidFill>
              </a:rPr>
            </a:br>
            <a:r>
              <a:rPr lang="de-DE" sz="1467" kern="0">
                <a:solidFill>
                  <a:srgbClr val="FFFFFF"/>
                </a:solidFill>
              </a:rPr>
              <a:t>     Gremiensitzungen</a:t>
            </a: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B0C5BA5D-8B94-D90D-6FDF-F3EAED839EAB}"/>
              </a:ext>
            </a:extLst>
          </p:cNvPr>
          <p:cNvSpPr/>
          <p:nvPr/>
        </p:nvSpPr>
        <p:spPr>
          <a:xfrm>
            <a:off x="6197426" y="4504874"/>
            <a:ext cx="5232363" cy="552695"/>
          </a:xfrm>
          <a:custGeom>
            <a:avLst/>
            <a:gdLst>
              <a:gd name="connsiteX0" fmla="*/ 0 w 6933183"/>
              <a:gd name="connsiteY0" fmla="*/ 0 h 570477"/>
              <a:gd name="connsiteX1" fmla="*/ 6933183 w 6933183"/>
              <a:gd name="connsiteY1" fmla="*/ 0 h 570477"/>
              <a:gd name="connsiteX2" fmla="*/ 6933183 w 6933183"/>
              <a:gd name="connsiteY2" fmla="*/ 570477 h 570477"/>
              <a:gd name="connsiteX3" fmla="*/ 0 w 6933183"/>
              <a:gd name="connsiteY3" fmla="*/ 570477 h 570477"/>
              <a:gd name="connsiteX4" fmla="*/ 0 w 6933183"/>
              <a:gd name="connsiteY4" fmla="*/ 0 h 5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3183" h="570477">
                <a:moveTo>
                  <a:pt x="0" y="0"/>
                </a:moveTo>
                <a:lnTo>
                  <a:pt x="6933183" y="0"/>
                </a:lnTo>
                <a:lnTo>
                  <a:pt x="6933183" y="570477"/>
                </a:lnTo>
                <a:lnTo>
                  <a:pt x="0" y="5704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480000" tIns="57573" rIns="57573" bIns="57573" numCol="1" spcCol="1270" anchor="ctr" anchorCtr="0">
            <a:noAutofit/>
          </a:bodyPr>
          <a:lstStyle/>
          <a:p>
            <a:pPr defTabSz="10075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de-DE" sz="1467" kern="0">
                <a:solidFill>
                  <a:srgbClr val="FFFFFF"/>
                </a:solidFill>
              </a:rPr>
              <a:t>5. Verstetigungsstrategie</a:t>
            </a: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75C3016C-55BD-B54E-5A25-C6BBF4B6DA74}"/>
              </a:ext>
            </a:extLst>
          </p:cNvPr>
          <p:cNvSpPr/>
          <p:nvPr/>
        </p:nvSpPr>
        <p:spPr>
          <a:xfrm>
            <a:off x="6197426" y="5146445"/>
            <a:ext cx="5232363" cy="552695"/>
          </a:xfrm>
          <a:custGeom>
            <a:avLst/>
            <a:gdLst>
              <a:gd name="connsiteX0" fmla="*/ 0 w 6933183"/>
              <a:gd name="connsiteY0" fmla="*/ 0 h 570477"/>
              <a:gd name="connsiteX1" fmla="*/ 6933183 w 6933183"/>
              <a:gd name="connsiteY1" fmla="*/ 0 h 570477"/>
              <a:gd name="connsiteX2" fmla="*/ 6933183 w 6933183"/>
              <a:gd name="connsiteY2" fmla="*/ 570477 h 570477"/>
              <a:gd name="connsiteX3" fmla="*/ 0 w 6933183"/>
              <a:gd name="connsiteY3" fmla="*/ 570477 h 570477"/>
              <a:gd name="connsiteX4" fmla="*/ 0 w 6933183"/>
              <a:gd name="connsiteY4" fmla="*/ 0 h 5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3183" h="570477">
                <a:moveTo>
                  <a:pt x="0" y="0"/>
                </a:moveTo>
                <a:lnTo>
                  <a:pt x="6933183" y="0"/>
                </a:lnTo>
                <a:lnTo>
                  <a:pt x="6933183" y="570477"/>
                </a:lnTo>
                <a:lnTo>
                  <a:pt x="0" y="5704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480000" tIns="57573" rIns="57573" bIns="57573" numCol="1" spcCol="1270" anchor="ctr" anchorCtr="0">
            <a:noAutofit/>
          </a:bodyPr>
          <a:lstStyle/>
          <a:p>
            <a:pPr defTabSz="10075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de-DE" sz="1467" kern="0">
                <a:solidFill>
                  <a:srgbClr val="FFFFFF"/>
                </a:solidFill>
              </a:rPr>
              <a:t>6. Controlling-Konzept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D471872D-78B1-01A3-E454-B29BE967074D}"/>
              </a:ext>
            </a:extLst>
          </p:cNvPr>
          <p:cNvSpPr/>
          <p:nvPr/>
        </p:nvSpPr>
        <p:spPr>
          <a:xfrm>
            <a:off x="5831607" y="5135795"/>
            <a:ext cx="583891" cy="60355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/>
          <a:lstStyle/>
          <a:p>
            <a:pPr defTabSz="1219170">
              <a:defRPr/>
            </a:pPr>
            <a:endParaRPr lang="de-DE" sz="1467" kern="0">
              <a:solidFill>
                <a:srgbClr val="0A5473">
                  <a:hueOff val="0"/>
                  <a:satOff val="0"/>
                  <a:lumOff val="0"/>
                  <a:alphaOff val="0"/>
                </a:srgbClr>
              </a:solidFill>
            </a:endParaRP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F01B45EE-CA4F-B31A-F5F6-3E0BE95A391E}"/>
              </a:ext>
            </a:extLst>
          </p:cNvPr>
          <p:cNvSpPr/>
          <p:nvPr/>
        </p:nvSpPr>
        <p:spPr>
          <a:xfrm>
            <a:off x="5850562" y="4503719"/>
            <a:ext cx="583891" cy="60355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/>
          <a:lstStyle/>
          <a:p>
            <a:pPr defTabSz="1219170">
              <a:defRPr/>
            </a:pPr>
            <a:endParaRPr lang="de-DE" sz="1467" kern="0">
              <a:solidFill>
                <a:srgbClr val="0A5473">
                  <a:hueOff val="0"/>
                  <a:satOff val="0"/>
                  <a:lumOff val="0"/>
                  <a:alphaOff val="0"/>
                </a:srgbClr>
              </a:solidFill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502CA8C5-4399-6117-91B8-5A332D45F4E2}"/>
              </a:ext>
            </a:extLst>
          </p:cNvPr>
          <p:cNvSpPr/>
          <p:nvPr/>
        </p:nvSpPr>
        <p:spPr>
          <a:xfrm>
            <a:off x="5855781" y="3859831"/>
            <a:ext cx="583891" cy="60355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/>
          <a:lstStyle/>
          <a:p>
            <a:pPr defTabSz="1219170">
              <a:defRPr/>
            </a:pPr>
            <a:endParaRPr lang="de-DE" sz="1467" kern="0">
              <a:solidFill>
                <a:srgbClr val="0A5473">
                  <a:hueOff val="0"/>
                  <a:satOff val="0"/>
                  <a:lumOff val="0"/>
                  <a:alphaOff val="0"/>
                </a:srgbClr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30763680-0007-025A-F6B6-62CD0A1F026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990008" y="4583100"/>
            <a:ext cx="291403" cy="416293"/>
            <a:chOff x="1349375" y="3022600"/>
            <a:chExt cx="288925" cy="412750"/>
          </a:xfrm>
          <a:solidFill>
            <a:schemeClr val="accent2"/>
          </a:solidFill>
        </p:grpSpPr>
        <p:sp>
          <p:nvSpPr>
            <p:cNvPr id="27" name="Freeform 94">
              <a:extLst>
                <a:ext uri="{FF2B5EF4-FFF2-40B4-BE49-F238E27FC236}">
                  <a16:creationId xmlns:a16="http://schemas.microsoft.com/office/drawing/2014/main" id="{AC65960D-A824-C4B3-BBB7-D19951E362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52563" y="3235324"/>
              <a:ext cx="82549" cy="123825"/>
            </a:xfrm>
            <a:custGeom>
              <a:avLst/>
              <a:gdLst>
                <a:gd name="T0" fmla="*/ 587 w 1092"/>
                <a:gd name="T1" fmla="*/ 1632 h 1638"/>
                <a:gd name="T2" fmla="*/ 643 w 1092"/>
                <a:gd name="T3" fmla="*/ 1598 h 1638"/>
                <a:gd name="T4" fmla="*/ 677 w 1092"/>
                <a:gd name="T5" fmla="*/ 1542 h 1638"/>
                <a:gd name="T6" fmla="*/ 683 w 1092"/>
                <a:gd name="T7" fmla="*/ 1074 h 1638"/>
                <a:gd name="T8" fmla="*/ 789 w 1092"/>
                <a:gd name="T9" fmla="*/ 1036 h 1638"/>
                <a:gd name="T10" fmla="*/ 882 w 1092"/>
                <a:gd name="T11" fmla="*/ 976 h 1638"/>
                <a:gd name="T12" fmla="*/ 962 w 1092"/>
                <a:gd name="T13" fmla="*/ 900 h 1638"/>
                <a:gd name="T14" fmla="*/ 1025 w 1092"/>
                <a:gd name="T15" fmla="*/ 809 h 1638"/>
                <a:gd name="T16" fmla="*/ 1069 w 1092"/>
                <a:gd name="T17" fmla="*/ 706 h 1638"/>
                <a:gd name="T18" fmla="*/ 1091 w 1092"/>
                <a:gd name="T19" fmla="*/ 593 h 1638"/>
                <a:gd name="T20" fmla="*/ 1090 w 1092"/>
                <a:gd name="T21" fmla="*/ 491 h 1638"/>
                <a:gd name="T22" fmla="*/ 1060 w 1092"/>
                <a:gd name="T23" fmla="*/ 359 h 1638"/>
                <a:gd name="T24" fmla="*/ 999 w 1092"/>
                <a:gd name="T25" fmla="*/ 241 h 1638"/>
                <a:gd name="T26" fmla="*/ 913 w 1092"/>
                <a:gd name="T27" fmla="*/ 142 h 1638"/>
                <a:gd name="T28" fmla="*/ 806 w 1092"/>
                <a:gd name="T29" fmla="*/ 66 h 1638"/>
                <a:gd name="T30" fmla="*/ 683 w 1092"/>
                <a:gd name="T31" fmla="*/ 18 h 1638"/>
                <a:gd name="T32" fmla="*/ 546 w 1092"/>
                <a:gd name="T33" fmla="*/ 0 h 1638"/>
                <a:gd name="T34" fmla="*/ 436 w 1092"/>
                <a:gd name="T35" fmla="*/ 12 h 1638"/>
                <a:gd name="T36" fmla="*/ 310 w 1092"/>
                <a:gd name="T37" fmla="*/ 54 h 1638"/>
                <a:gd name="T38" fmla="*/ 199 w 1092"/>
                <a:gd name="T39" fmla="*/ 124 h 1638"/>
                <a:gd name="T40" fmla="*/ 109 w 1092"/>
                <a:gd name="T41" fmla="*/ 220 h 1638"/>
                <a:gd name="T42" fmla="*/ 43 w 1092"/>
                <a:gd name="T43" fmla="*/ 334 h 1638"/>
                <a:gd name="T44" fmla="*/ 6 w 1092"/>
                <a:gd name="T45" fmla="*/ 463 h 1638"/>
                <a:gd name="T46" fmla="*/ 1 w 1092"/>
                <a:gd name="T47" fmla="*/ 570 h 1638"/>
                <a:gd name="T48" fmla="*/ 18 w 1092"/>
                <a:gd name="T49" fmla="*/ 684 h 1638"/>
                <a:gd name="T50" fmla="*/ 58 w 1092"/>
                <a:gd name="T51" fmla="*/ 790 h 1638"/>
                <a:gd name="T52" fmla="*/ 117 w 1092"/>
                <a:gd name="T53" fmla="*/ 883 h 1638"/>
                <a:gd name="T54" fmla="*/ 194 w 1092"/>
                <a:gd name="T55" fmla="*/ 962 h 1638"/>
                <a:gd name="T56" fmla="*/ 285 w 1092"/>
                <a:gd name="T57" fmla="*/ 1025 h 1638"/>
                <a:gd name="T58" fmla="*/ 388 w 1092"/>
                <a:gd name="T59" fmla="*/ 1068 h 1638"/>
                <a:gd name="T60" fmla="*/ 413 w 1092"/>
                <a:gd name="T61" fmla="*/ 1529 h 1638"/>
                <a:gd name="T62" fmla="*/ 441 w 1092"/>
                <a:gd name="T63" fmla="*/ 1589 h 1638"/>
                <a:gd name="T64" fmla="*/ 494 w 1092"/>
                <a:gd name="T65" fmla="*/ 1628 h 1638"/>
                <a:gd name="T66" fmla="*/ 546 w 1092"/>
                <a:gd name="T67" fmla="*/ 1638 h 1638"/>
                <a:gd name="T68" fmla="*/ 276 w 1092"/>
                <a:gd name="T69" fmla="*/ 504 h 1638"/>
                <a:gd name="T70" fmla="*/ 295 w 1092"/>
                <a:gd name="T71" fmla="*/ 440 h 1638"/>
                <a:gd name="T72" fmla="*/ 327 w 1092"/>
                <a:gd name="T73" fmla="*/ 383 h 1638"/>
                <a:gd name="T74" fmla="*/ 394 w 1092"/>
                <a:gd name="T75" fmla="*/ 320 h 1638"/>
                <a:gd name="T76" fmla="*/ 453 w 1092"/>
                <a:gd name="T77" fmla="*/ 290 h 1638"/>
                <a:gd name="T78" fmla="*/ 519 w 1092"/>
                <a:gd name="T79" fmla="*/ 274 h 1638"/>
                <a:gd name="T80" fmla="*/ 574 w 1092"/>
                <a:gd name="T81" fmla="*/ 274 h 1638"/>
                <a:gd name="T82" fmla="*/ 640 w 1092"/>
                <a:gd name="T83" fmla="*/ 290 h 1638"/>
                <a:gd name="T84" fmla="*/ 699 w 1092"/>
                <a:gd name="T85" fmla="*/ 320 h 1638"/>
                <a:gd name="T86" fmla="*/ 766 w 1092"/>
                <a:gd name="T87" fmla="*/ 383 h 1638"/>
                <a:gd name="T88" fmla="*/ 798 w 1092"/>
                <a:gd name="T89" fmla="*/ 440 h 1638"/>
                <a:gd name="T90" fmla="*/ 816 w 1092"/>
                <a:gd name="T91" fmla="*/ 504 h 1638"/>
                <a:gd name="T92" fmla="*/ 819 w 1092"/>
                <a:gd name="T93" fmla="*/ 561 h 1638"/>
                <a:gd name="T94" fmla="*/ 807 w 1092"/>
                <a:gd name="T95" fmla="*/ 628 h 1638"/>
                <a:gd name="T96" fmla="*/ 780 w 1092"/>
                <a:gd name="T97" fmla="*/ 687 h 1638"/>
                <a:gd name="T98" fmla="*/ 720 w 1092"/>
                <a:gd name="T99" fmla="*/ 756 h 1638"/>
                <a:gd name="T100" fmla="*/ 664 w 1092"/>
                <a:gd name="T101" fmla="*/ 792 h 1638"/>
                <a:gd name="T102" fmla="*/ 601 w 1092"/>
                <a:gd name="T103" fmla="*/ 814 h 1638"/>
                <a:gd name="T104" fmla="*/ 546 w 1092"/>
                <a:gd name="T105" fmla="*/ 819 h 1638"/>
                <a:gd name="T106" fmla="*/ 478 w 1092"/>
                <a:gd name="T107" fmla="*/ 811 h 1638"/>
                <a:gd name="T108" fmla="*/ 416 w 1092"/>
                <a:gd name="T109" fmla="*/ 787 h 1638"/>
                <a:gd name="T110" fmla="*/ 354 w 1092"/>
                <a:gd name="T111" fmla="*/ 740 h 1638"/>
                <a:gd name="T112" fmla="*/ 306 w 1092"/>
                <a:gd name="T113" fmla="*/ 676 h 1638"/>
                <a:gd name="T114" fmla="*/ 282 w 1092"/>
                <a:gd name="T115" fmla="*/ 614 h 1638"/>
                <a:gd name="T116" fmla="*/ 273 w 1092"/>
                <a:gd name="T117" fmla="*/ 546 h 1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2" h="1638">
                  <a:moveTo>
                    <a:pt x="546" y="1638"/>
                  </a:moveTo>
                  <a:lnTo>
                    <a:pt x="546" y="1638"/>
                  </a:lnTo>
                  <a:lnTo>
                    <a:pt x="561" y="1637"/>
                  </a:lnTo>
                  <a:lnTo>
                    <a:pt x="574" y="1636"/>
                  </a:lnTo>
                  <a:lnTo>
                    <a:pt x="587" y="1632"/>
                  </a:lnTo>
                  <a:lnTo>
                    <a:pt x="599" y="1628"/>
                  </a:lnTo>
                  <a:lnTo>
                    <a:pt x="612" y="1621"/>
                  </a:lnTo>
                  <a:lnTo>
                    <a:pt x="622" y="1615"/>
                  </a:lnTo>
                  <a:lnTo>
                    <a:pt x="633" y="1607"/>
                  </a:lnTo>
                  <a:lnTo>
                    <a:pt x="643" y="1598"/>
                  </a:lnTo>
                  <a:lnTo>
                    <a:pt x="652" y="1589"/>
                  </a:lnTo>
                  <a:lnTo>
                    <a:pt x="660" y="1578"/>
                  </a:lnTo>
                  <a:lnTo>
                    <a:pt x="666" y="1567"/>
                  </a:lnTo>
                  <a:lnTo>
                    <a:pt x="673" y="1554"/>
                  </a:lnTo>
                  <a:lnTo>
                    <a:pt x="677" y="1542"/>
                  </a:lnTo>
                  <a:lnTo>
                    <a:pt x="680" y="1529"/>
                  </a:lnTo>
                  <a:lnTo>
                    <a:pt x="682" y="1516"/>
                  </a:lnTo>
                  <a:lnTo>
                    <a:pt x="683" y="1502"/>
                  </a:lnTo>
                  <a:lnTo>
                    <a:pt x="683" y="1074"/>
                  </a:lnTo>
                  <a:lnTo>
                    <a:pt x="683" y="1074"/>
                  </a:lnTo>
                  <a:lnTo>
                    <a:pt x="705" y="1068"/>
                  </a:lnTo>
                  <a:lnTo>
                    <a:pt x="726" y="1061"/>
                  </a:lnTo>
                  <a:lnTo>
                    <a:pt x="748" y="1053"/>
                  </a:lnTo>
                  <a:lnTo>
                    <a:pt x="768" y="1045"/>
                  </a:lnTo>
                  <a:lnTo>
                    <a:pt x="789" y="1036"/>
                  </a:lnTo>
                  <a:lnTo>
                    <a:pt x="809" y="1025"/>
                  </a:lnTo>
                  <a:lnTo>
                    <a:pt x="827" y="1014"/>
                  </a:lnTo>
                  <a:lnTo>
                    <a:pt x="846" y="1002"/>
                  </a:lnTo>
                  <a:lnTo>
                    <a:pt x="864" y="989"/>
                  </a:lnTo>
                  <a:lnTo>
                    <a:pt x="882" y="976"/>
                  </a:lnTo>
                  <a:lnTo>
                    <a:pt x="900" y="962"/>
                  </a:lnTo>
                  <a:lnTo>
                    <a:pt x="916" y="948"/>
                  </a:lnTo>
                  <a:lnTo>
                    <a:pt x="932" y="932"/>
                  </a:lnTo>
                  <a:lnTo>
                    <a:pt x="948" y="916"/>
                  </a:lnTo>
                  <a:lnTo>
                    <a:pt x="962" y="900"/>
                  </a:lnTo>
                  <a:lnTo>
                    <a:pt x="976" y="883"/>
                  </a:lnTo>
                  <a:lnTo>
                    <a:pt x="989" y="865"/>
                  </a:lnTo>
                  <a:lnTo>
                    <a:pt x="1002" y="847"/>
                  </a:lnTo>
                  <a:lnTo>
                    <a:pt x="1014" y="828"/>
                  </a:lnTo>
                  <a:lnTo>
                    <a:pt x="1025" y="809"/>
                  </a:lnTo>
                  <a:lnTo>
                    <a:pt x="1036" y="790"/>
                  </a:lnTo>
                  <a:lnTo>
                    <a:pt x="1045" y="769"/>
                  </a:lnTo>
                  <a:lnTo>
                    <a:pt x="1053" y="749"/>
                  </a:lnTo>
                  <a:lnTo>
                    <a:pt x="1062" y="727"/>
                  </a:lnTo>
                  <a:lnTo>
                    <a:pt x="1069" y="706"/>
                  </a:lnTo>
                  <a:lnTo>
                    <a:pt x="1075" y="684"/>
                  </a:lnTo>
                  <a:lnTo>
                    <a:pt x="1080" y="662"/>
                  </a:lnTo>
                  <a:lnTo>
                    <a:pt x="1085" y="639"/>
                  </a:lnTo>
                  <a:lnTo>
                    <a:pt x="1088" y="616"/>
                  </a:lnTo>
                  <a:lnTo>
                    <a:pt x="1091" y="593"/>
                  </a:lnTo>
                  <a:lnTo>
                    <a:pt x="1092" y="570"/>
                  </a:lnTo>
                  <a:lnTo>
                    <a:pt x="1092" y="546"/>
                  </a:lnTo>
                  <a:lnTo>
                    <a:pt x="1092" y="546"/>
                  </a:lnTo>
                  <a:lnTo>
                    <a:pt x="1092" y="518"/>
                  </a:lnTo>
                  <a:lnTo>
                    <a:pt x="1090" y="491"/>
                  </a:lnTo>
                  <a:lnTo>
                    <a:pt x="1086" y="463"/>
                  </a:lnTo>
                  <a:lnTo>
                    <a:pt x="1082" y="436"/>
                  </a:lnTo>
                  <a:lnTo>
                    <a:pt x="1075" y="410"/>
                  </a:lnTo>
                  <a:lnTo>
                    <a:pt x="1068" y="384"/>
                  </a:lnTo>
                  <a:lnTo>
                    <a:pt x="1060" y="359"/>
                  </a:lnTo>
                  <a:lnTo>
                    <a:pt x="1049" y="334"/>
                  </a:lnTo>
                  <a:lnTo>
                    <a:pt x="1039" y="310"/>
                  </a:lnTo>
                  <a:lnTo>
                    <a:pt x="1026" y="286"/>
                  </a:lnTo>
                  <a:lnTo>
                    <a:pt x="1014" y="263"/>
                  </a:lnTo>
                  <a:lnTo>
                    <a:pt x="999" y="241"/>
                  </a:lnTo>
                  <a:lnTo>
                    <a:pt x="984" y="220"/>
                  </a:lnTo>
                  <a:lnTo>
                    <a:pt x="968" y="199"/>
                  </a:lnTo>
                  <a:lnTo>
                    <a:pt x="951" y="179"/>
                  </a:lnTo>
                  <a:lnTo>
                    <a:pt x="933" y="160"/>
                  </a:lnTo>
                  <a:lnTo>
                    <a:pt x="913" y="142"/>
                  </a:lnTo>
                  <a:lnTo>
                    <a:pt x="893" y="124"/>
                  </a:lnTo>
                  <a:lnTo>
                    <a:pt x="873" y="109"/>
                  </a:lnTo>
                  <a:lnTo>
                    <a:pt x="851" y="93"/>
                  </a:lnTo>
                  <a:lnTo>
                    <a:pt x="829" y="79"/>
                  </a:lnTo>
                  <a:lnTo>
                    <a:pt x="806" y="66"/>
                  </a:lnTo>
                  <a:lnTo>
                    <a:pt x="783" y="54"/>
                  </a:lnTo>
                  <a:lnTo>
                    <a:pt x="759" y="43"/>
                  </a:lnTo>
                  <a:lnTo>
                    <a:pt x="734" y="33"/>
                  </a:lnTo>
                  <a:lnTo>
                    <a:pt x="709" y="25"/>
                  </a:lnTo>
                  <a:lnTo>
                    <a:pt x="683" y="18"/>
                  </a:lnTo>
                  <a:lnTo>
                    <a:pt x="657" y="12"/>
                  </a:lnTo>
                  <a:lnTo>
                    <a:pt x="630" y="6"/>
                  </a:lnTo>
                  <a:lnTo>
                    <a:pt x="602" y="3"/>
                  </a:lnTo>
                  <a:lnTo>
                    <a:pt x="574" y="1"/>
                  </a:lnTo>
                  <a:lnTo>
                    <a:pt x="546" y="0"/>
                  </a:lnTo>
                  <a:lnTo>
                    <a:pt x="546" y="0"/>
                  </a:lnTo>
                  <a:lnTo>
                    <a:pt x="519" y="1"/>
                  </a:lnTo>
                  <a:lnTo>
                    <a:pt x="491" y="3"/>
                  </a:lnTo>
                  <a:lnTo>
                    <a:pt x="463" y="6"/>
                  </a:lnTo>
                  <a:lnTo>
                    <a:pt x="436" y="12"/>
                  </a:lnTo>
                  <a:lnTo>
                    <a:pt x="410" y="18"/>
                  </a:lnTo>
                  <a:lnTo>
                    <a:pt x="384" y="25"/>
                  </a:lnTo>
                  <a:lnTo>
                    <a:pt x="359" y="33"/>
                  </a:lnTo>
                  <a:lnTo>
                    <a:pt x="334" y="43"/>
                  </a:lnTo>
                  <a:lnTo>
                    <a:pt x="310" y="54"/>
                  </a:lnTo>
                  <a:lnTo>
                    <a:pt x="287" y="66"/>
                  </a:lnTo>
                  <a:lnTo>
                    <a:pt x="264" y="79"/>
                  </a:lnTo>
                  <a:lnTo>
                    <a:pt x="242" y="93"/>
                  </a:lnTo>
                  <a:lnTo>
                    <a:pt x="220" y="109"/>
                  </a:lnTo>
                  <a:lnTo>
                    <a:pt x="199" y="124"/>
                  </a:lnTo>
                  <a:lnTo>
                    <a:pt x="179" y="142"/>
                  </a:lnTo>
                  <a:lnTo>
                    <a:pt x="160" y="160"/>
                  </a:lnTo>
                  <a:lnTo>
                    <a:pt x="142" y="179"/>
                  </a:lnTo>
                  <a:lnTo>
                    <a:pt x="126" y="199"/>
                  </a:lnTo>
                  <a:lnTo>
                    <a:pt x="109" y="220"/>
                  </a:lnTo>
                  <a:lnTo>
                    <a:pt x="94" y="241"/>
                  </a:lnTo>
                  <a:lnTo>
                    <a:pt x="79" y="263"/>
                  </a:lnTo>
                  <a:lnTo>
                    <a:pt x="66" y="286"/>
                  </a:lnTo>
                  <a:lnTo>
                    <a:pt x="54" y="310"/>
                  </a:lnTo>
                  <a:lnTo>
                    <a:pt x="43" y="334"/>
                  </a:lnTo>
                  <a:lnTo>
                    <a:pt x="33" y="359"/>
                  </a:lnTo>
                  <a:lnTo>
                    <a:pt x="25" y="384"/>
                  </a:lnTo>
                  <a:lnTo>
                    <a:pt x="18" y="410"/>
                  </a:lnTo>
                  <a:lnTo>
                    <a:pt x="12" y="436"/>
                  </a:lnTo>
                  <a:lnTo>
                    <a:pt x="6" y="463"/>
                  </a:lnTo>
                  <a:lnTo>
                    <a:pt x="3" y="491"/>
                  </a:lnTo>
                  <a:lnTo>
                    <a:pt x="1" y="518"/>
                  </a:lnTo>
                  <a:lnTo>
                    <a:pt x="0" y="546"/>
                  </a:lnTo>
                  <a:lnTo>
                    <a:pt x="0" y="546"/>
                  </a:lnTo>
                  <a:lnTo>
                    <a:pt x="1" y="570"/>
                  </a:lnTo>
                  <a:lnTo>
                    <a:pt x="2" y="593"/>
                  </a:lnTo>
                  <a:lnTo>
                    <a:pt x="5" y="616"/>
                  </a:lnTo>
                  <a:lnTo>
                    <a:pt x="8" y="639"/>
                  </a:lnTo>
                  <a:lnTo>
                    <a:pt x="13" y="662"/>
                  </a:lnTo>
                  <a:lnTo>
                    <a:pt x="18" y="684"/>
                  </a:lnTo>
                  <a:lnTo>
                    <a:pt x="24" y="706"/>
                  </a:lnTo>
                  <a:lnTo>
                    <a:pt x="31" y="727"/>
                  </a:lnTo>
                  <a:lnTo>
                    <a:pt x="40" y="749"/>
                  </a:lnTo>
                  <a:lnTo>
                    <a:pt x="48" y="769"/>
                  </a:lnTo>
                  <a:lnTo>
                    <a:pt x="58" y="790"/>
                  </a:lnTo>
                  <a:lnTo>
                    <a:pt x="68" y="809"/>
                  </a:lnTo>
                  <a:lnTo>
                    <a:pt x="79" y="828"/>
                  </a:lnTo>
                  <a:lnTo>
                    <a:pt x="91" y="847"/>
                  </a:lnTo>
                  <a:lnTo>
                    <a:pt x="104" y="865"/>
                  </a:lnTo>
                  <a:lnTo>
                    <a:pt x="117" y="883"/>
                  </a:lnTo>
                  <a:lnTo>
                    <a:pt x="131" y="900"/>
                  </a:lnTo>
                  <a:lnTo>
                    <a:pt x="145" y="916"/>
                  </a:lnTo>
                  <a:lnTo>
                    <a:pt x="161" y="932"/>
                  </a:lnTo>
                  <a:lnTo>
                    <a:pt x="177" y="948"/>
                  </a:lnTo>
                  <a:lnTo>
                    <a:pt x="194" y="962"/>
                  </a:lnTo>
                  <a:lnTo>
                    <a:pt x="210" y="976"/>
                  </a:lnTo>
                  <a:lnTo>
                    <a:pt x="228" y="989"/>
                  </a:lnTo>
                  <a:lnTo>
                    <a:pt x="247" y="1002"/>
                  </a:lnTo>
                  <a:lnTo>
                    <a:pt x="266" y="1014"/>
                  </a:lnTo>
                  <a:lnTo>
                    <a:pt x="285" y="1025"/>
                  </a:lnTo>
                  <a:lnTo>
                    <a:pt x="304" y="1036"/>
                  </a:lnTo>
                  <a:lnTo>
                    <a:pt x="324" y="1045"/>
                  </a:lnTo>
                  <a:lnTo>
                    <a:pt x="345" y="1053"/>
                  </a:lnTo>
                  <a:lnTo>
                    <a:pt x="366" y="1061"/>
                  </a:lnTo>
                  <a:lnTo>
                    <a:pt x="388" y="1068"/>
                  </a:lnTo>
                  <a:lnTo>
                    <a:pt x="410" y="1074"/>
                  </a:lnTo>
                  <a:lnTo>
                    <a:pt x="410" y="1502"/>
                  </a:lnTo>
                  <a:lnTo>
                    <a:pt x="410" y="1502"/>
                  </a:lnTo>
                  <a:lnTo>
                    <a:pt x="411" y="1516"/>
                  </a:lnTo>
                  <a:lnTo>
                    <a:pt x="413" y="1529"/>
                  </a:lnTo>
                  <a:lnTo>
                    <a:pt x="416" y="1542"/>
                  </a:lnTo>
                  <a:lnTo>
                    <a:pt x="420" y="1554"/>
                  </a:lnTo>
                  <a:lnTo>
                    <a:pt x="427" y="1567"/>
                  </a:lnTo>
                  <a:lnTo>
                    <a:pt x="433" y="1578"/>
                  </a:lnTo>
                  <a:lnTo>
                    <a:pt x="441" y="1589"/>
                  </a:lnTo>
                  <a:lnTo>
                    <a:pt x="450" y="1598"/>
                  </a:lnTo>
                  <a:lnTo>
                    <a:pt x="459" y="1607"/>
                  </a:lnTo>
                  <a:lnTo>
                    <a:pt x="470" y="1615"/>
                  </a:lnTo>
                  <a:lnTo>
                    <a:pt x="481" y="1621"/>
                  </a:lnTo>
                  <a:lnTo>
                    <a:pt x="494" y="1628"/>
                  </a:lnTo>
                  <a:lnTo>
                    <a:pt x="506" y="1632"/>
                  </a:lnTo>
                  <a:lnTo>
                    <a:pt x="519" y="1636"/>
                  </a:lnTo>
                  <a:lnTo>
                    <a:pt x="532" y="1637"/>
                  </a:lnTo>
                  <a:lnTo>
                    <a:pt x="546" y="1638"/>
                  </a:lnTo>
                  <a:lnTo>
                    <a:pt x="546" y="1638"/>
                  </a:lnTo>
                  <a:close/>
                  <a:moveTo>
                    <a:pt x="273" y="546"/>
                  </a:moveTo>
                  <a:lnTo>
                    <a:pt x="273" y="546"/>
                  </a:lnTo>
                  <a:lnTo>
                    <a:pt x="274" y="532"/>
                  </a:lnTo>
                  <a:lnTo>
                    <a:pt x="275" y="518"/>
                  </a:lnTo>
                  <a:lnTo>
                    <a:pt x="276" y="504"/>
                  </a:lnTo>
                  <a:lnTo>
                    <a:pt x="279" y="492"/>
                  </a:lnTo>
                  <a:lnTo>
                    <a:pt x="282" y="478"/>
                  </a:lnTo>
                  <a:lnTo>
                    <a:pt x="286" y="465"/>
                  </a:lnTo>
                  <a:lnTo>
                    <a:pt x="290" y="452"/>
                  </a:lnTo>
                  <a:lnTo>
                    <a:pt x="295" y="440"/>
                  </a:lnTo>
                  <a:lnTo>
                    <a:pt x="300" y="428"/>
                  </a:lnTo>
                  <a:lnTo>
                    <a:pt x="306" y="416"/>
                  </a:lnTo>
                  <a:lnTo>
                    <a:pt x="313" y="405"/>
                  </a:lnTo>
                  <a:lnTo>
                    <a:pt x="320" y="393"/>
                  </a:lnTo>
                  <a:lnTo>
                    <a:pt x="327" y="383"/>
                  </a:lnTo>
                  <a:lnTo>
                    <a:pt x="336" y="372"/>
                  </a:lnTo>
                  <a:lnTo>
                    <a:pt x="354" y="354"/>
                  </a:lnTo>
                  <a:lnTo>
                    <a:pt x="372" y="336"/>
                  </a:lnTo>
                  <a:lnTo>
                    <a:pt x="383" y="327"/>
                  </a:lnTo>
                  <a:lnTo>
                    <a:pt x="394" y="320"/>
                  </a:lnTo>
                  <a:lnTo>
                    <a:pt x="405" y="313"/>
                  </a:lnTo>
                  <a:lnTo>
                    <a:pt x="416" y="306"/>
                  </a:lnTo>
                  <a:lnTo>
                    <a:pt x="428" y="300"/>
                  </a:lnTo>
                  <a:lnTo>
                    <a:pt x="440" y="295"/>
                  </a:lnTo>
                  <a:lnTo>
                    <a:pt x="453" y="290"/>
                  </a:lnTo>
                  <a:lnTo>
                    <a:pt x="465" y="286"/>
                  </a:lnTo>
                  <a:lnTo>
                    <a:pt x="478" y="281"/>
                  </a:lnTo>
                  <a:lnTo>
                    <a:pt x="492" y="278"/>
                  </a:lnTo>
                  <a:lnTo>
                    <a:pt x="505" y="276"/>
                  </a:lnTo>
                  <a:lnTo>
                    <a:pt x="519" y="274"/>
                  </a:lnTo>
                  <a:lnTo>
                    <a:pt x="532" y="273"/>
                  </a:lnTo>
                  <a:lnTo>
                    <a:pt x="546" y="273"/>
                  </a:lnTo>
                  <a:lnTo>
                    <a:pt x="546" y="273"/>
                  </a:lnTo>
                  <a:lnTo>
                    <a:pt x="561" y="273"/>
                  </a:lnTo>
                  <a:lnTo>
                    <a:pt x="574" y="274"/>
                  </a:lnTo>
                  <a:lnTo>
                    <a:pt x="588" y="276"/>
                  </a:lnTo>
                  <a:lnTo>
                    <a:pt x="601" y="278"/>
                  </a:lnTo>
                  <a:lnTo>
                    <a:pt x="615" y="281"/>
                  </a:lnTo>
                  <a:lnTo>
                    <a:pt x="628" y="286"/>
                  </a:lnTo>
                  <a:lnTo>
                    <a:pt x="640" y="290"/>
                  </a:lnTo>
                  <a:lnTo>
                    <a:pt x="653" y="295"/>
                  </a:lnTo>
                  <a:lnTo>
                    <a:pt x="664" y="300"/>
                  </a:lnTo>
                  <a:lnTo>
                    <a:pt x="677" y="306"/>
                  </a:lnTo>
                  <a:lnTo>
                    <a:pt x="688" y="313"/>
                  </a:lnTo>
                  <a:lnTo>
                    <a:pt x="699" y="320"/>
                  </a:lnTo>
                  <a:lnTo>
                    <a:pt x="709" y="327"/>
                  </a:lnTo>
                  <a:lnTo>
                    <a:pt x="720" y="336"/>
                  </a:lnTo>
                  <a:lnTo>
                    <a:pt x="740" y="354"/>
                  </a:lnTo>
                  <a:lnTo>
                    <a:pt x="757" y="372"/>
                  </a:lnTo>
                  <a:lnTo>
                    <a:pt x="766" y="383"/>
                  </a:lnTo>
                  <a:lnTo>
                    <a:pt x="773" y="393"/>
                  </a:lnTo>
                  <a:lnTo>
                    <a:pt x="780" y="405"/>
                  </a:lnTo>
                  <a:lnTo>
                    <a:pt x="787" y="416"/>
                  </a:lnTo>
                  <a:lnTo>
                    <a:pt x="793" y="428"/>
                  </a:lnTo>
                  <a:lnTo>
                    <a:pt x="798" y="440"/>
                  </a:lnTo>
                  <a:lnTo>
                    <a:pt x="803" y="452"/>
                  </a:lnTo>
                  <a:lnTo>
                    <a:pt x="807" y="465"/>
                  </a:lnTo>
                  <a:lnTo>
                    <a:pt x="811" y="478"/>
                  </a:lnTo>
                  <a:lnTo>
                    <a:pt x="814" y="492"/>
                  </a:lnTo>
                  <a:lnTo>
                    <a:pt x="816" y="504"/>
                  </a:lnTo>
                  <a:lnTo>
                    <a:pt x="818" y="518"/>
                  </a:lnTo>
                  <a:lnTo>
                    <a:pt x="819" y="532"/>
                  </a:lnTo>
                  <a:lnTo>
                    <a:pt x="819" y="546"/>
                  </a:lnTo>
                  <a:lnTo>
                    <a:pt x="819" y="546"/>
                  </a:lnTo>
                  <a:lnTo>
                    <a:pt x="819" y="561"/>
                  </a:lnTo>
                  <a:lnTo>
                    <a:pt x="818" y="574"/>
                  </a:lnTo>
                  <a:lnTo>
                    <a:pt x="816" y="588"/>
                  </a:lnTo>
                  <a:lnTo>
                    <a:pt x="814" y="601"/>
                  </a:lnTo>
                  <a:lnTo>
                    <a:pt x="811" y="614"/>
                  </a:lnTo>
                  <a:lnTo>
                    <a:pt x="807" y="628"/>
                  </a:lnTo>
                  <a:lnTo>
                    <a:pt x="803" y="640"/>
                  </a:lnTo>
                  <a:lnTo>
                    <a:pt x="798" y="653"/>
                  </a:lnTo>
                  <a:lnTo>
                    <a:pt x="793" y="664"/>
                  </a:lnTo>
                  <a:lnTo>
                    <a:pt x="787" y="676"/>
                  </a:lnTo>
                  <a:lnTo>
                    <a:pt x="780" y="687"/>
                  </a:lnTo>
                  <a:lnTo>
                    <a:pt x="773" y="699"/>
                  </a:lnTo>
                  <a:lnTo>
                    <a:pt x="766" y="709"/>
                  </a:lnTo>
                  <a:lnTo>
                    <a:pt x="757" y="720"/>
                  </a:lnTo>
                  <a:lnTo>
                    <a:pt x="740" y="740"/>
                  </a:lnTo>
                  <a:lnTo>
                    <a:pt x="720" y="756"/>
                  </a:lnTo>
                  <a:lnTo>
                    <a:pt x="709" y="765"/>
                  </a:lnTo>
                  <a:lnTo>
                    <a:pt x="699" y="772"/>
                  </a:lnTo>
                  <a:lnTo>
                    <a:pt x="688" y="779"/>
                  </a:lnTo>
                  <a:lnTo>
                    <a:pt x="677" y="787"/>
                  </a:lnTo>
                  <a:lnTo>
                    <a:pt x="664" y="792"/>
                  </a:lnTo>
                  <a:lnTo>
                    <a:pt x="653" y="798"/>
                  </a:lnTo>
                  <a:lnTo>
                    <a:pt x="640" y="802"/>
                  </a:lnTo>
                  <a:lnTo>
                    <a:pt x="628" y="806"/>
                  </a:lnTo>
                  <a:lnTo>
                    <a:pt x="615" y="811"/>
                  </a:lnTo>
                  <a:lnTo>
                    <a:pt x="601" y="814"/>
                  </a:lnTo>
                  <a:lnTo>
                    <a:pt x="588" y="816"/>
                  </a:lnTo>
                  <a:lnTo>
                    <a:pt x="574" y="818"/>
                  </a:lnTo>
                  <a:lnTo>
                    <a:pt x="561" y="819"/>
                  </a:lnTo>
                  <a:lnTo>
                    <a:pt x="546" y="819"/>
                  </a:lnTo>
                  <a:lnTo>
                    <a:pt x="546" y="819"/>
                  </a:lnTo>
                  <a:lnTo>
                    <a:pt x="532" y="819"/>
                  </a:lnTo>
                  <a:lnTo>
                    <a:pt x="519" y="818"/>
                  </a:lnTo>
                  <a:lnTo>
                    <a:pt x="505" y="816"/>
                  </a:lnTo>
                  <a:lnTo>
                    <a:pt x="492" y="814"/>
                  </a:lnTo>
                  <a:lnTo>
                    <a:pt x="478" y="811"/>
                  </a:lnTo>
                  <a:lnTo>
                    <a:pt x="465" y="806"/>
                  </a:lnTo>
                  <a:lnTo>
                    <a:pt x="453" y="802"/>
                  </a:lnTo>
                  <a:lnTo>
                    <a:pt x="440" y="798"/>
                  </a:lnTo>
                  <a:lnTo>
                    <a:pt x="428" y="792"/>
                  </a:lnTo>
                  <a:lnTo>
                    <a:pt x="416" y="787"/>
                  </a:lnTo>
                  <a:lnTo>
                    <a:pt x="405" y="779"/>
                  </a:lnTo>
                  <a:lnTo>
                    <a:pt x="394" y="772"/>
                  </a:lnTo>
                  <a:lnTo>
                    <a:pt x="383" y="765"/>
                  </a:lnTo>
                  <a:lnTo>
                    <a:pt x="372" y="756"/>
                  </a:lnTo>
                  <a:lnTo>
                    <a:pt x="354" y="740"/>
                  </a:lnTo>
                  <a:lnTo>
                    <a:pt x="336" y="720"/>
                  </a:lnTo>
                  <a:lnTo>
                    <a:pt x="327" y="709"/>
                  </a:lnTo>
                  <a:lnTo>
                    <a:pt x="320" y="699"/>
                  </a:lnTo>
                  <a:lnTo>
                    <a:pt x="313" y="687"/>
                  </a:lnTo>
                  <a:lnTo>
                    <a:pt x="306" y="676"/>
                  </a:lnTo>
                  <a:lnTo>
                    <a:pt x="300" y="664"/>
                  </a:lnTo>
                  <a:lnTo>
                    <a:pt x="295" y="653"/>
                  </a:lnTo>
                  <a:lnTo>
                    <a:pt x="290" y="640"/>
                  </a:lnTo>
                  <a:lnTo>
                    <a:pt x="286" y="628"/>
                  </a:lnTo>
                  <a:lnTo>
                    <a:pt x="282" y="614"/>
                  </a:lnTo>
                  <a:lnTo>
                    <a:pt x="279" y="601"/>
                  </a:lnTo>
                  <a:lnTo>
                    <a:pt x="276" y="588"/>
                  </a:lnTo>
                  <a:lnTo>
                    <a:pt x="275" y="574"/>
                  </a:lnTo>
                  <a:lnTo>
                    <a:pt x="274" y="561"/>
                  </a:lnTo>
                  <a:lnTo>
                    <a:pt x="273" y="546"/>
                  </a:lnTo>
                  <a:lnTo>
                    <a:pt x="273" y="546"/>
                  </a:lnTo>
                  <a:close/>
                </a:path>
              </a:pathLst>
            </a:custGeom>
            <a:grpFill/>
            <a:ln>
              <a:solidFill>
                <a:schemeClr val="accent2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95">
              <a:extLst>
                <a:ext uri="{FF2B5EF4-FFF2-40B4-BE49-F238E27FC236}">
                  <a16:creationId xmlns:a16="http://schemas.microsoft.com/office/drawing/2014/main" id="{19B2DFE6-FA6B-417C-32AE-FA24104B2B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349375" y="3022600"/>
              <a:ext cx="288925" cy="412750"/>
            </a:xfrm>
            <a:custGeom>
              <a:avLst/>
              <a:gdLst>
                <a:gd name="T0" fmla="*/ 3138 w 3822"/>
                <a:gd name="T1" fmla="*/ 1161 h 5460"/>
                <a:gd name="T2" fmla="*/ 3099 w 3822"/>
                <a:gd name="T3" fmla="*/ 918 h 5460"/>
                <a:gd name="T4" fmla="*/ 3016 w 3822"/>
                <a:gd name="T5" fmla="*/ 693 h 5460"/>
                <a:gd name="T6" fmla="*/ 2892 w 3822"/>
                <a:gd name="T7" fmla="*/ 492 h 5460"/>
                <a:gd name="T8" fmla="*/ 2733 w 3822"/>
                <a:gd name="T9" fmla="*/ 318 h 5460"/>
                <a:gd name="T10" fmla="*/ 2545 w 3822"/>
                <a:gd name="T11" fmla="*/ 177 h 5460"/>
                <a:gd name="T12" fmla="*/ 2331 w 3822"/>
                <a:gd name="T13" fmla="*/ 74 h 5460"/>
                <a:gd name="T14" fmla="*/ 2097 w 3822"/>
                <a:gd name="T15" fmla="*/ 14 h 5460"/>
                <a:gd name="T16" fmla="*/ 1880 w 3822"/>
                <a:gd name="T17" fmla="*/ 0 h 5460"/>
                <a:gd name="T18" fmla="*/ 1636 w 3822"/>
                <a:gd name="T19" fmla="*/ 31 h 5460"/>
                <a:gd name="T20" fmla="*/ 1409 w 3822"/>
                <a:gd name="T21" fmla="*/ 108 h 5460"/>
                <a:gd name="T22" fmla="*/ 1204 w 3822"/>
                <a:gd name="T23" fmla="*/ 226 h 5460"/>
                <a:gd name="T24" fmla="*/ 1026 w 3822"/>
                <a:gd name="T25" fmla="*/ 380 h 5460"/>
                <a:gd name="T26" fmla="*/ 881 w 3822"/>
                <a:gd name="T27" fmla="*/ 564 h 5460"/>
                <a:gd name="T28" fmla="*/ 771 w 3822"/>
                <a:gd name="T29" fmla="*/ 775 h 5460"/>
                <a:gd name="T30" fmla="*/ 704 w 3822"/>
                <a:gd name="T31" fmla="*/ 1007 h 5460"/>
                <a:gd name="T32" fmla="*/ 683 w 3822"/>
                <a:gd name="T33" fmla="*/ 1224 h 5460"/>
                <a:gd name="T34" fmla="*/ 473 w 3822"/>
                <a:gd name="T35" fmla="*/ 1833 h 5460"/>
                <a:gd name="T36" fmla="*/ 261 w 3822"/>
                <a:gd name="T37" fmla="*/ 1921 h 5460"/>
                <a:gd name="T38" fmla="*/ 101 w 3822"/>
                <a:gd name="T39" fmla="*/ 2081 h 5460"/>
                <a:gd name="T40" fmla="*/ 13 w 3822"/>
                <a:gd name="T41" fmla="*/ 2293 h 5460"/>
                <a:gd name="T42" fmla="*/ 2 w 3822"/>
                <a:gd name="T43" fmla="*/ 5215 h 5460"/>
                <a:gd name="T44" fmla="*/ 33 w 3822"/>
                <a:gd name="T45" fmla="*/ 5317 h 5460"/>
                <a:gd name="T46" fmla="*/ 121 w 3822"/>
                <a:gd name="T47" fmla="*/ 5414 h 5460"/>
                <a:gd name="T48" fmla="*/ 219 w 3822"/>
                <a:gd name="T49" fmla="*/ 5455 h 5460"/>
                <a:gd name="T50" fmla="*/ 3622 w 3822"/>
                <a:gd name="T51" fmla="*/ 5458 h 5460"/>
                <a:gd name="T52" fmla="*/ 3708 w 3822"/>
                <a:gd name="T53" fmla="*/ 5400 h 5460"/>
                <a:gd name="T54" fmla="*/ 3731 w 3822"/>
                <a:gd name="T55" fmla="*/ 5309 h 5460"/>
                <a:gd name="T56" fmla="*/ 3682 w 3822"/>
                <a:gd name="T57" fmla="*/ 5218 h 5460"/>
                <a:gd name="T58" fmla="*/ 273 w 3822"/>
                <a:gd name="T59" fmla="*/ 5187 h 5460"/>
                <a:gd name="T60" fmla="*/ 288 w 3822"/>
                <a:gd name="T61" fmla="*/ 2317 h 5460"/>
                <a:gd name="T62" fmla="*/ 346 w 3822"/>
                <a:gd name="T63" fmla="*/ 2209 h 5460"/>
                <a:gd name="T64" fmla="*/ 440 w 3822"/>
                <a:gd name="T65" fmla="*/ 2132 h 5460"/>
                <a:gd name="T66" fmla="*/ 560 w 3822"/>
                <a:gd name="T67" fmla="*/ 2095 h 5460"/>
                <a:gd name="T68" fmla="*/ 3295 w 3822"/>
                <a:gd name="T69" fmla="*/ 2099 h 5460"/>
                <a:gd name="T70" fmla="*/ 3409 w 3822"/>
                <a:gd name="T71" fmla="*/ 2147 h 5460"/>
                <a:gd name="T72" fmla="*/ 3495 w 3822"/>
                <a:gd name="T73" fmla="*/ 2233 h 5460"/>
                <a:gd name="T74" fmla="*/ 3543 w 3822"/>
                <a:gd name="T75" fmla="*/ 2347 h 5460"/>
                <a:gd name="T76" fmla="*/ 3552 w 3822"/>
                <a:gd name="T77" fmla="*/ 4532 h 5460"/>
                <a:gd name="T78" fmla="*/ 3610 w 3822"/>
                <a:gd name="T79" fmla="*/ 4618 h 5460"/>
                <a:gd name="T80" fmla="*/ 3700 w 3822"/>
                <a:gd name="T81" fmla="*/ 4640 h 5460"/>
                <a:gd name="T82" fmla="*/ 3792 w 3822"/>
                <a:gd name="T83" fmla="*/ 4592 h 5460"/>
                <a:gd name="T84" fmla="*/ 3822 w 3822"/>
                <a:gd name="T85" fmla="*/ 2412 h 5460"/>
                <a:gd name="T86" fmla="*/ 3786 w 3822"/>
                <a:gd name="T87" fmla="*/ 2208 h 5460"/>
                <a:gd name="T88" fmla="*/ 3668 w 3822"/>
                <a:gd name="T89" fmla="*/ 2015 h 5460"/>
                <a:gd name="T90" fmla="*/ 3487 w 3822"/>
                <a:gd name="T91" fmla="*/ 1879 h 5460"/>
                <a:gd name="T92" fmla="*/ 3261 w 3822"/>
                <a:gd name="T93" fmla="*/ 1821 h 5460"/>
                <a:gd name="T94" fmla="*/ 961 w 3822"/>
                <a:gd name="T95" fmla="*/ 1137 h 5460"/>
                <a:gd name="T96" fmla="*/ 1071 w 3822"/>
                <a:gd name="T97" fmla="*/ 777 h 5460"/>
                <a:gd name="T98" fmla="*/ 1304 w 3822"/>
                <a:gd name="T99" fmla="*/ 493 h 5460"/>
                <a:gd name="T100" fmla="*/ 1628 w 3822"/>
                <a:gd name="T101" fmla="*/ 316 h 5460"/>
                <a:gd name="T102" fmla="*/ 1911 w 3822"/>
                <a:gd name="T103" fmla="*/ 273 h 5460"/>
                <a:gd name="T104" fmla="*/ 2239 w 3822"/>
                <a:gd name="T105" fmla="*/ 332 h 5460"/>
                <a:gd name="T106" fmla="*/ 2553 w 3822"/>
                <a:gd name="T107" fmla="*/ 523 h 5460"/>
                <a:gd name="T108" fmla="*/ 2773 w 3822"/>
                <a:gd name="T109" fmla="*/ 818 h 5460"/>
                <a:gd name="T110" fmla="*/ 2866 w 3822"/>
                <a:gd name="T111" fmla="*/ 1186 h 5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22" h="5460">
                  <a:moveTo>
                    <a:pt x="3231" y="1820"/>
                  </a:moveTo>
                  <a:lnTo>
                    <a:pt x="3140" y="1820"/>
                  </a:lnTo>
                  <a:lnTo>
                    <a:pt x="3140" y="1228"/>
                  </a:lnTo>
                  <a:lnTo>
                    <a:pt x="3140" y="1228"/>
                  </a:lnTo>
                  <a:lnTo>
                    <a:pt x="3140" y="1224"/>
                  </a:lnTo>
                  <a:lnTo>
                    <a:pt x="3140" y="1224"/>
                  </a:lnTo>
                  <a:lnTo>
                    <a:pt x="3139" y="1192"/>
                  </a:lnTo>
                  <a:lnTo>
                    <a:pt x="3138" y="1161"/>
                  </a:lnTo>
                  <a:lnTo>
                    <a:pt x="3136" y="1130"/>
                  </a:lnTo>
                  <a:lnTo>
                    <a:pt x="3133" y="1099"/>
                  </a:lnTo>
                  <a:lnTo>
                    <a:pt x="3129" y="1068"/>
                  </a:lnTo>
                  <a:lnTo>
                    <a:pt x="3124" y="1038"/>
                  </a:lnTo>
                  <a:lnTo>
                    <a:pt x="3119" y="1007"/>
                  </a:lnTo>
                  <a:lnTo>
                    <a:pt x="3113" y="977"/>
                  </a:lnTo>
                  <a:lnTo>
                    <a:pt x="3107" y="948"/>
                  </a:lnTo>
                  <a:lnTo>
                    <a:pt x="3099" y="918"/>
                  </a:lnTo>
                  <a:lnTo>
                    <a:pt x="3091" y="889"/>
                  </a:lnTo>
                  <a:lnTo>
                    <a:pt x="3082" y="860"/>
                  </a:lnTo>
                  <a:lnTo>
                    <a:pt x="3072" y="832"/>
                  </a:lnTo>
                  <a:lnTo>
                    <a:pt x="3063" y="803"/>
                  </a:lnTo>
                  <a:lnTo>
                    <a:pt x="3051" y="775"/>
                  </a:lnTo>
                  <a:lnTo>
                    <a:pt x="3041" y="748"/>
                  </a:lnTo>
                  <a:lnTo>
                    <a:pt x="3028" y="721"/>
                  </a:lnTo>
                  <a:lnTo>
                    <a:pt x="3016" y="693"/>
                  </a:lnTo>
                  <a:lnTo>
                    <a:pt x="3002" y="666"/>
                  </a:lnTo>
                  <a:lnTo>
                    <a:pt x="2988" y="640"/>
                  </a:lnTo>
                  <a:lnTo>
                    <a:pt x="2974" y="615"/>
                  </a:lnTo>
                  <a:lnTo>
                    <a:pt x="2958" y="589"/>
                  </a:lnTo>
                  <a:lnTo>
                    <a:pt x="2942" y="564"/>
                  </a:lnTo>
                  <a:lnTo>
                    <a:pt x="2927" y="540"/>
                  </a:lnTo>
                  <a:lnTo>
                    <a:pt x="2909" y="516"/>
                  </a:lnTo>
                  <a:lnTo>
                    <a:pt x="2892" y="492"/>
                  </a:lnTo>
                  <a:lnTo>
                    <a:pt x="2874" y="469"/>
                  </a:lnTo>
                  <a:lnTo>
                    <a:pt x="2856" y="446"/>
                  </a:lnTo>
                  <a:lnTo>
                    <a:pt x="2837" y="423"/>
                  </a:lnTo>
                  <a:lnTo>
                    <a:pt x="2817" y="401"/>
                  </a:lnTo>
                  <a:lnTo>
                    <a:pt x="2797" y="380"/>
                  </a:lnTo>
                  <a:lnTo>
                    <a:pt x="2776" y="359"/>
                  </a:lnTo>
                  <a:lnTo>
                    <a:pt x="2755" y="338"/>
                  </a:lnTo>
                  <a:lnTo>
                    <a:pt x="2733" y="318"/>
                  </a:lnTo>
                  <a:lnTo>
                    <a:pt x="2711" y="298"/>
                  </a:lnTo>
                  <a:lnTo>
                    <a:pt x="2689" y="279"/>
                  </a:lnTo>
                  <a:lnTo>
                    <a:pt x="2666" y="261"/>
                  </a:lnTo>
                  <a:lnTo>
                    <a:pt x="2642" y="243"/>
                  </a:lnTo>
                  <a:lnTo>
                    <a:pt x="2619" y="226"/>
                  </a:lnTo>
                  <a:lnTo>
                    <a:pt x="2595" y="209"/>
                  </a:lnTo>
                  <a:lnTo>
                    <a:pt x="2570" y="192"/>
                  </a:lnTo>
                  <a:lnTo>
                    <a:pt x="2545" y="177"/>
                  </a:lnTo>
                  <a:lnTo>
                    <a:pt x="2520" y="162"/>
                  </a:lnTo>
                  <a:lnTo>
                    <a:pt x="2494" y="147"/>
                  </a:lnTo>
                  <a:lnTo>
                    <a:pt x="2467" y="134"/>
                  </a:lnTo>
                  <a:lnTo>
                    <a:pt x="2441" y="120"/>
                  </a:lnTo>
                  <a:lnTo>
                    <a:pt x="2414" y="108"/>
                  </a:lnTo>
                  <a:lnTo>
                    <a:pt x="2387" y="96"/>
                  </a:lnTo>
                  <a:lnTo>
                    <a:pt x="2359" y="85"/>
                  </a:lnTo>
                  <a:lnTo>
                    <a:pt x="2331" y="74"/>
                  </a:lnTo>
                  <a:lnTo>
                    <a:pt x="2303" y="64"/>
                  </a:lnTo>
                  <a:lnTo>
                    <a:pt x="2274" y="55"/>
                  </a:lnTo>
                  <a:lnTo>
                    <a:pt x="2246" y="46"/>
                  </a:lnTo>
                  <a:lnTo>
                    <a:pt x="2216" y="39"/>
                  </a:lnTo>
                  <a:lnTo>
                    <a:pt x="2187" y="31"/>
                  </a:lnTo>
                  <a:lnTo>
                    <a:pt x="2158" y="25"/>
                  </a:lnTo>
                  <a:lnTo>
                    <a:pt x="2128" y="19"/>
                  </a:lnTo>
                  <a:lnTo>
                    <a:pt x="2097" y="14"/>
                  </a:lnTo>
                  <a:lnTo>
                    <a:pt x="2067" y="9"/>
                  </a:lnTo>
                  <a:lnTo>
                    <a:pt x="2037" y="6"/>
                  </a:lnTo>
                  <a:lnTo>
                    <a:pt x="2005" y="3"/>
                  </a:lnTo>
                  <a:lnTo>
                    <a:pt x="1974" y="2"/>
                  </a:lnTo>
                  <a:lnTo>
                    <a:pt x="1943" y="0"/>
                  </a:lnTo>
                  <a:lnTo>
                    <a:pt x="1911" y="0"/>
                  </a:lnTo>
                  <a:lnTo>
                    <a:pt x="1911" y="0"/>
                  </a:lnTo>
                  <a:lnTo>
                    <a:pt x="1880" y="0"/>
                  </a:lnTo>
                  <a:lnTo>
                    <a:pt x="1848" y="2"/>
                  </a:lnTo>
                  <a:lnTo>
                    <a:pt x="1818" y="3"/>
                  </a:lnTo>
                  <a:lnTo>
                    <a:pt x="1787" y="6"/>
                  </a:lnTo>
                  <a:lnTo>
                    <a:pt x="1756" y="9"/>
                  </a:lnTo>
                  <a:lnTo>
                    <a:pt x="1726" y="14"/>
                  </a:lnTo>
                  <a:lnTo>
                    <a:pt x="1696" y="19"/>
                  </a:lnTo>
                  <a:lnTo>
                    <a:pt x="1665" y="25"/>
                  </a:lnTo>
                  <a:lnTo>
                    <a:pt x="1636" y="31"/>
                  </a:lnTo>
                  <a:lnTo>
                    <a:pt x="1607" y="39"/>
                  </a:lnTo>
                  <a:lnTo>
                    <a:pt x="1577" y="46"/>
                  </a:lnTo>
                  <a:lnTo>
                    <a:pt x="1548" y="55"/>
                  </a:lnTo>
                  <a:lnTo>
                    <a:pt x="1520" y="64"/>
                  </a:lnTo>
                  <a:lnTo>
                    <a:pt x="1492" y="74"/>
                  </a:lnTo>
                  <a:lnTo>
                    <a:pt x="1463" y="85"/>
                  </a:lnTo>
                  <a:lnTo>
                    <a:pt x="1436" y="96"/>
                  </a:lnTo>
                  <a:lnTo>
                    <a:pt x="1409" y="108"/>
                  </a:lnTo>
                  <a:lnTo>
                    <a:pt x="1382" y="120"/>
                  </a:lnTo>
                  <a:lnTo>
                    <a:pt x="1356" y="134"/>
                  </a:lnTo>
                  <a:lnTo>
                    <a:pt x="1329" y="147"/>
                  </a:lnTo>
                  <a:lnTo>
                    <a:pt x="1303" y="162"/>
                  </a:lnTo>
                  <a:lnTo>
                    <a:pt x="1278" y="177"/>
                  </a:lnTo>
                  <a:lnTo>
                    <a:pt x="1253" y="192"/>
                  </a:lnTo>
                  <a:lnTo>
                    <a:pt x="1228" y="209"/>
                  </a:lnTo>
                  <a:lnTo>
                    <a:pt x="1204" y="226"/>
                  </a:lnTo>
                  <a:lnTo>
                    <a:pt x="1180" y="243"/>
                  </a:lnTo>
                  <a:lnTo>
                    <a:pt x="1157" y="261"/>
                  </a:lnTo>
                  <a:lnTo>
                    <a:pt x="1134" y="279"/>
                  </a:lnTo>
                  <a:lnTo>
                    <a:pt x="1112" y="298"/>
                  </a:lnTo>
                  <a:lnTo>
                    <a:pt x="1090" y="318"/>
                  </a:lnTo>
                  <a:lnTo>
                    <a:pt x="1068" y="338"/>
                  </a:lnTo>
                  <a:lnTo>
                    <a:pt x="1047" y="359"/>
                  </a:lnTo>
                  <a:lnTo>
                    <a:pt x="1026" y="380"/>
                  </a:lnTo>
                  <a:lnTo>
                    <a:pt x="1006" y="401"/>
                  </a:lnTo>
                  <a:lnTo>
                    <a:pt x="986" y="423"/>
                  </a:lnTo>
                  <a:lnTo>
                    <a:pt x="968" y="446"/>
                  </a:lnTo>
                  <a:lnTo>
                    <a:pt x="949" y="469"/>
                  </a:lnTo>
                  <a:lnTo>
                    <a:pt x="931" y="492"/>
                  </a:lnTo>
                  <a:lnTo>
                    <a:pt x="913" y="516"/>
                  </a:lnTo>
                  <a:lnTo>
                    <a:pt x="896" y="540"/>
                  </a:lnTo>
                  <a:lnTo>
                    <a:pt x="881" y="564"/>
                  </a:lnTo>
                  <a:lnTo>
                    <a:pt x="865" y="589"/>
                  </a:lnTo>
                  <a:lnTo>
                    <a:pt x="849" y="615"/>
                  </a:lnTo>
                  <a:lnTo>
                    <a:pt x="835" y="640"/>
                  </a:lnTo>
                  <a:lnTo>
                    <a:pt x="821" y="666"/>
                  </a:lnTo>
                  <a:lnTo>
                    <a:pt x="807" y="693"/>
                  </a:lnTo>
                  <a:lnTo>
                    <a:pt x="795" y="721"/>
                  </a:lnTo>
                  <a:lnTo>
                    <a:pt x="782" y="748"/>
                  </a:lnTo>
                  <a:lnTo>
                    <a:pt x="771" y="775"/>
                  </a:lnTo>
                  <a:lnTo>
                    <a:pt x="760" y="803"/>
                  </a:lnTo>
                  <a:lnTo>
                    <a:pt x="750" y="832"/>
                  </a:lnTo>
                  <a:lnTo>
                    <a:pt x="741" y="860"/>
                  </a:lnTo>
                  <a:lnTo>
                    <a:pt x="732" y="889"/>
                  </a:lnTo>
                  <a:lnTo>
                    <a:pt x="724" y="918"/>
                  </a:lnTo>
                  <a:lnTo>
                    <a:pt x="716" y="948"/>
                  </a:lnTo>
                  <a:lnTo>
                    <a:pt x="710" y="977"/>
                  </a:lnTo>
                  <a:lnTo>
                    <a:pt x="704" y="1007"/>
                  </a:lnTo>
                  <a:lnTo>
                    <a:pt x="699" y="1038"/>
                  </a:lnTo>
                  <a:lnTo>
                    <a:pt x="695" y="1068"/>
                  </a:lnTo>
                  <a:lnTo>
                    <a:pt x="690" y="1099"/>
                  </a:lnTo>
                  <a:lnTo>
                    <a:pt x="687" y="1130"/>
                  </a:lnTo>
                  <a:lnTo>
                    <a:pt x="685" y="1161"/>
                  </a:lnTo>
                  <a:lnTo>
                    <a:pt x="684" y="1192"/>
                  </a:lnTo>
                  <a:lnTo>
                    <a:pt x="683" y="1224"/>
                  </a:lnTo>
                  <a:lnTo>
                    <a:pt x="683" y="1224"/>
                  </a:lnTo>
                  <a:lnTo>
                    <a:pt x="683" y="1228"/>
                  </a:lnTo>
                  <a:lnTo>
                    <a:pt x="683" y="1820"/>
                  </a:lnTo>
                  <a:lnTo>
                    <a:pt x="592" y="1820"/>
                  </a:lnTo>
                  <a:lnTo>
                    <a:pt x="592" y="1820"/>
                  </a:lnTo>
                  <a:lnTo>
                    <a:pt x="562" y="1821"/>
                  </a:lnTo>
                  <a:lnTo>
                    <a:pt x="531" y="1823"/>
                  </a:lnTo>
                  <a:lnTo>
                    <a:pt x="502" y="1827"/>
                  </a:lnTo>
                  <a:lnTo>
                    <a:pt x="473" y="1833"/>
                  </a:lnTo>
                  <a:lnTo>
                    <a:pt x="445" y="1839"/>
                  </a:lnTo>
                  <a:lnTo>
                    <a:pt x="416" y="1847"/>
                  </a:lnTo>
                  <a:lnTo>
                    <a:pt x="389" y="1856"/>
                  </a:lnTo>
                  <a:lnTo>
                    <a:pt x="362" y="1867"/>
                  </a:lnTo>
                  <a:lnTo>
                    <a:pt x="336" y="1879"/>
                  </a:lnTo>
                  <a:lnTo>
                    <a:pt x="311" y="1891"/>
                  </a:lnTo>
                  <a:lnTo>
                    <a:pt x="286" y="1906"/>
                  </a:lnTo>
                  <a:lnTo>
                    <a:pt x="261" y="1921"/>
                  </a:lnTo>
                  <a:lnTo>
                    <a:pt x="238" y="1938"/>
                  </a:lnTo>
                  <a:lnTo>
                    <a:pt x="215" y="1955"/>
                  </a:lnTo>
                  <a:lnTo>
                    <a:pt x="195" y="1974"/>
                  </a:lnTo>
                  <a:lnTo>
                    <a:pt x="174" y="1994"/>
                  </a:lnTo>
                  <a:lnTo>
                    <a:pt x="154" y="2015"/>
                  </a:lnTo>
                  <a:lnTo>
                    <a:pt x="136" y="2035"/>
                  </a:lnTo>
                  <a:lnTo>
                    <a:pt x="118" y="2057"/>
                  </a:lnTo>
                  <a:lnTo>
                    <a:pt x="101" y="2081"/>
                  </a:lnTo>
                  <a:lnTo>
                    <a:pt x="86" y="2106"/>
                  </a:lnTo>
                  <a:lnTo>
                    <a:pt x="72" y="2130"/>
                  </a:lnTo>
                  <a:lnTo>
                    <a:pt x="59" y="2156"/>
                  </a:lnTo>
                  <a:lnTo>
                    <a:pt x="47" y="2182"/>
                  </a:lnTo>
                  <a:lnTo>
                    <a:pt x="37" y="2208"/>
                  </a:lnTo>
                  <a:lnTo>
                    <a:pt x="27" y="2236"/>
                  </a:lnTo>
                  <a:lnTo>
                    <a:pt x="19" y="2263"/>
                  </a:lnTo>
                  <a:lnTo>
                    <a:pt x="13" y="2293"/>
                  </a:lnTo>
                  <a:lnTo>
                    <a:pt x="7" y="2322"/>
                  </a:lnTo>
                  <a:lnTo>
                    <a:pt x="3" y="2351"/>
                  </a:lnTo>
                  <a:lnTo>
                    <a:pt x="1" y="2382"/>
                  </a:lnTo>
                  <a:lnTo>
                    <a:pt x="0" y="2412"/>
                  </a:lnTo>
                  <a:lnTo>
                    <a:pt x="0" y="5187"/>
                  </a:lnTo>
                  <a:lnTo>
                    <a:pt x="0" y="5187"/>
                  </a:lnTo>
                  <a:lnTo>
                    <a:pt x="1" y="5202"/>
                  </a:lnTo>
                  <a:lnTo>
                    <a:pt x="2" y="5215"/>
                  </a:lnTo>
                  <a:lnTo>
                    <a:pt x="3" y="5229"/>
                  </a:lnTo>
                  <a:lnTo>
                    <a:pt x="6" y="5242"/>
                  </a:lnTo>
                  <a:lnTo>
                    <a:pt x="9" y="5255"/>
                  </a:lnTo>
                  <a:lnTo>
                    <a:pt x="13" y="5269"/>
                  </a:lnTo>
                  <a:lnTo>
                    <a:pt x="17" y="5281"/>
                  </a:lnTo>
                  <a:lnTo>
                    <a:pt x="22" y="5294"/>
                  </a:lnTo>
                  <a:lnTo>
                    <a:pt x="27" y="5305"/>
                  </a:lnTo>
                  <a:lnTo>
                    <a:pt x="33" y="5317"/>
                  </a:lnTo>
                  <a:lnTo>
                    <a:pt x="40" y="5328"/>
                  </a:lnTo>
                  <a:lnTo>
                    <a:pt x="47" y="5340"/>
                  </a:lnTo>
                  <a:lnTo>
                    <a:pt x="54" y="5350"/>
                  </a:lnTo>
                  <a:lnTo>
                    <a:pt x="63" y="5361"/>
                  </a:lnTo>
                  <a:lnTo>
                    <a:pt x="81" y="5381"/>
                  </a:lnTo>
                  <a:lnTo>
                    <a:pt x="99" y="5397"/>
                  </a:lnTo>
                  <a:lnTo>
                    <a:pt x="110" y="5406"/>
                  </a:lnTo>
                  <a:lnTo>
                    <a:pt x="121" y="5414"/>
                  </a:lnTo>
                  <a:lnTo>
                    <a:pt x="132" y="5420"/>
                  </a:lnTo>
                  <a:lnTo>
                    <a:pt x="143" y="5428"/>
                  </a:lnTo>
                  <a:lnTo>
                    <a:pt x="155" y="5433"/>
                  </a:lnTo>
                  <a:lnTo>
                    <a:pt x="167" y="5439"/>
                  </a:lnTo>
                  <a:lnTo>
                    <a:pt x="180" y="5443"/>
                  </a:lnTo>
                  <a:lnTo>
                    <a:pt x="192" y="5447"/>
                  </a:lnTo>
                  <a:lnTo>
                    <a:pt x="205" y="5452"/>
                  </a:lnTo>
                  <a:lnTo>
                    <a:pt x="219" y="5455"/>
                  </a:lnTo>
                  <a:lnTo>
                    <a:pt x="232" y="5457"/>
                  </a:lnTo>
                  <a:lnTo>
                    <a:pt x="246" y="5459"/>
                  </a:lnTo>
                  <a:lnTo>
                    <a:pt x="259" y="5460"/>
                  </a:lnTo>
                  <a:lnTo>
                    <a:pt x="273" y="5460"/>
                  </a:lnTo>
                  <a:lnTo>
                    <a:pt x="3595" y="5460"/>
                  </a:lnTo>
                  <a:lnTo>
                    <a:pt x="3595" y="5460"/>
                  </a:lnTo>
                  <a:lnTo>
                    <a:pt x="3609" y="5459"/>
                  </a:lnTo>
                  <a:lnTo>
                    <a:pt x="3622" y="5458"/>
                  </a:lnTo>
                  <a:lnTo>
                    <a:pt x="3636" y="5454"/>
                  </a:lnTo>
                  <a:lnTo>
                    <a:pt x="3648" y="5450"/>
                  </a:lnTo>
                  <a:lnTo>
                    <a:pt x="3660" y="5443"/>
                  </a:lnTo>
                  <a:lnTo>
                    <a:pt x="3671" y="5437"/>
                  </a:lnTo>
                  <a:lnTo>
                    <a:pt x="3682" y="5429"/>
                  </a:lnTo>
                  <a:lnTo>
                    <a:pt x="3691" y="5420"/>
                  </a:lnTo>
                  <a:lnTo>
                    <a:pt x="3701" y="5411"/>
                  </a:lnTo>
                  <a:lnTo>
                    <a:pt x="3708" y="5400"/>
                  </a:lnTo>
                  <a:lnTo>
                    <a:pt x="3715" y="5389"/>
                  </a:lnTo>
                  <a:lnTo>
                    <a:pt x="3721" y="5376"/>
                  </a:lnTo>
                  <a:lnTo>
                    <a:pt x="3726" y="5364"/>
                  </a:lnTo>
                  <a:lnTo>
                    <a:pt x="3729" y="5351"/>
                  </a:lnTo>
                  <a:lnTo>
                    <a:pt x="3731" y="5338"/>
                  </a:lnTo>
                  <a:lnTo>
                    <a:pt x="3731" y="5324"/>
                  </a:lnTo>
                  <a:lnTo>
                    <a:pt x="3731" y="5324"/>
                  </a:lnTo>
                  <a:lnTo>
                    <a:pt x="3731" y="5309"/>
                  </a:lnTo>
                  <a:lnTo>
                    <a:pt x="3729" y="5296"/>
                  </a:lnTo>
                  <a:lnTo>
                    <a:pt x="3726" y="5283"/>
                  </a:lnTo>
                  <a:lnTo>
                    <a:pt x="3721" y="5271"/>
                  </a:lnTo>
                  <a:lnTo>
                    <a:pt x="3715" y="5258"/>
                  </a:lnTo>
                  <a:lnTo>
                    <a:pt x="3708" y="5248"/>
                  </a:lnTo>
                  <a:lnTo>
                    <a:pt x="3701" y="5237"/>
                  </a:lnTo>
                  <a:lnTo>
                    <a:pt x="3691" y="5227"/>
                  </a:lnTo>
                  <a:lnTo>
                    <a:pt x="3682" y="5218"/>
                  </a:lnTo>
                  <a:lnTo>
                    <a:pt x="3671" y="5210"/>
                  </a:lnTo>
                  <a:lnTo>
                    <a:pt x="3660" y="5204"/>
                  </a:lnTo>
                  <a:lnTo>
                    <a:pt x="3648" y="5197"/>
                  </a:lnTo>
                  <a:lnTo>
                    <a:pt x="3636" y="5193"/>
                  </a:lnTo>
                  <a:lnTo>
                    <a:pt x="3622" y="5190"/>
                  </a:lnTo>
                  <a:lnTo>
                    <a:pt x="3609" y="5188"/>
                  </a:lnTo>
                  <a:lnTo>
                    <a:pt x="3595" y="5187"/>
                  </a:lnTo>
                  <a:lnTo>
                    <a:pt x="273" y="5187"/>
                  </a:lnTo>
                  <a:lnTo>
                    <a:pt x="273" y="2412"/>
                  </a:lnTo>
                  <a:lnTo>
                    <a:pt x="273" y="2412"/>
                  </a:lnTo>
                  <a:lnTo>
                    <a:pt x="274" y="2395"/>
                  </a:lnTo>
                  <a:lnTo>
                    <a:pt x="275" y="2379"/>
                  </a:lnTo>
                  <a:lnTo>
                    <a:pt x="277" y="2363"/>
                  </a:lnTo>
                  <a:lnTo>
                    <a:pt x="280" y="2347"/>
                  </a:lnTo>
                  <a:lnTo>
                    <a:pt x="283" y="2333"/>
                  </a:lnTo>
                  <a:lnTo>
                    <a:pt x="288" y="2317"/>
                  </a:lnTo>
                  <a:lnTo>
                    <a:pt x="293" y="2302"/>
                  </a:lnTo>
                  <a:lnTo>
                    <a:pt x="298" y="2288"/>
                  </a:lnTo>
                  <a:lnTo>
                    <a:pt x="304" y="2274"/>
                  </a:lnTo>
                  <a:lnTo>
                    <a:pt x="312" y="2260"/>
                  </a:lnTo>
                  <a:lnTo>
                    <a:pt x="320" y="2247"/>
                  </a:lnTo>
                  <a:lnTo>
                    <a:pt x="327" y="2233"/>
                  </a:lnTo>
                  <a:lnTo>
                    <a:pt x="337" y="2222"/>
                  </a:lnTo>
                  <a:lnTo>
                    <a:pt x="346" y="2209"/>
                  </a:lnTo>
                  <a:lnTo>
                    <a:pt x="357" y="2198"/>
                  </a:lnTo>
                  <a:lnTo>
                    <a:pt x="367" y="2186"/>
                  </a:lnTo>
                  <a:lnTo>
                    <a:pt x="378" y="2176"/>
                  </a:lnTo>
                  <a:lnTo>
                    <a:pt x="389" y="2166"/>
                  </a:lnTo>
                  <a:lnTo>
                    <a:pt x="402" y="2157"/>
                  </a:lnTo>
                  <a:lnTo>
                    <a:pt x="414" y="2147"/>
                  </a:lnTo>
                  <a:lnTo>
                    <a:pt x="427" y="2139"/>
                  </a:lnTo>
                  <a:lnTo>
                    <a:pt x="440" y="2132"/>
                  </a:lnTo>
                  <a:lnTo>
                    <a:pt x="454" y="2124"/>
                  </a:lnTo>
                  <a:lnTo>
                    <a:pt x="468" y="2118"/>
                  </a:lnTo>
                  <a:lnTo>
                    <a:pt x="482" y="2113"/>
                  </a:lnTo>
                  <a:lnTo>
                    <a:pt x="497" y="2108"/>
                  </a:lnTo>
                  <a:lnTo>
                    <a:pt x="513" y="2103"/>
                  </a:lnTo>
                  <a:lnTo>
                    <a:pt x="528" y="2099"/>
                  </a:lnTo>
                  <a:lnTo>
                    <a:pt x="544" y="2097"/>
                  </a:lnTo>
                  <a:lnTo>
                    <a:pt x="560" y="2095"/>
                  </a:lnTo>
                  <a:lnTo>
                    <a:pt x="575" y="2093"/>
                  </a:lnTo>
                  <a:lnTo>
                    <a:pt x="592" y="2093"/>
                  </a:lnTo>
                  <a:lnTo>
                    <a:pt x="3231" y="2093"/>
                  </a:lnTo>
                  <a:lnTo>
                    <a:pt x="3231" y="2093"/>
                  </a:lnTo>
                  <a:lnTo>
                    <a:pt x="3248" y="2093"/>
                  </a:lnTo>
                  <a:lnTo>
                    <a:pt x="3263" y="2095"/>
                  </a:lnTo>
                  <a:lnTo>
                    <a:pt x="3279" y="2097"/>
                  </a:lnTo>
                  <a:lnTo>
                    <a:pt x="3295" y="2099"/>
                  </a:lnTo>
                  <a:lnTo>
                    <a:pt x="3311" y="2103"/>
                  </a:lnTo>
                  <a:lnTo>
                    <a:pt x="3325" y="2108"/>
                  </a:lnTo>
                  <a:lnTo>
                    <a:pt x="3341" y="2113"/>
                  </a:lnTo>
                  <a:lnTo>
                    <a:pt x="3354" y="2118"/>
                  </a:lnTo>
                  <a:lnTo>
                    <a:pt x="3369" y="2124"/>
                  </a:lnTo>
                  <a:lnTo>
                    <a:pt x="3383" y="2132"/>
                  </a:lnTo>
                  <a:lnTo>
                    <a:pt x="3396" y="2139"/>
                  </a:lnTo>
                  <a:lnTo>
                    <a:pt x="3409" y="2147"/>
                  </a:lnTo>
                  <a:lnTo>
                    <a:pt x="3421" y="2157"/>
                  </a:lnTo>
                  <a:lnTo>
                    <a:pt x="3434" y="2166"/>
                  </a:lnTo>
                  <a:lnTo>
                    <a:pt x="3445" y="2176"/>
                  </a:lnTo>
                  <a:lnTo>
                    <a:pt x="3456" y="2186"/>
                  </a:lnTo>
                  <a:lnTo>
                    <a:pt x="3466" y="2198"/>
                  </a:lnTo>
                  <a:lnTo>
                    <a:pt x="3477" y="2209"/>
                  </a:lnTo>
                  <a:lnTo>
                    <a:pt x="3486" y="2222"/>
                  </a:lnTo>
                  <a:lnTo>
                    <a:pt x="3495" y="2233"/>
                  </a:lnTo>
                  <a:lnTo>
                    <a:pt x="3503" y="2247"/>
                  </a:lnTo>
                  <a:lnTo>
                    <a:pt x="3511" y="2260"/>
                  </a:lnTo>
                  <a:lnTo>
                    <a:pt x="3518" y="2274"/>
                  </a:lnTo>
                  <a:lnTo>
                    <a:pt x="3524" y="2288"/>
                  </a:lnTo>
                  <a:lnTo>
                    <a:pt x="3530" y="2302"/>
                  </a:lnTo>
                  <a:lnTo>
                    <a:pt x="3535" y="2317"/>
                  </a:lnTo>
                  <a:lnTo>
                    <a:pt x="3540" y="2333"/>
                  </a:lnTo>
                  <a:lnTo>
                    <a:pt x="3543" y="2347"/>
                  </a:lnTo>
                  <a:lnTo>
                    <a:pt x="3546" y="2363"/>
                  </a:lnTo>
                  <a:lnTo>
                    <a:pt x="3548" y="2379"/>
                  </a:lnTo>
                  <a:lnTo>
                    <a:pt x="3549" y="2395"/>
                  </a:lnTo>
                  <a:lnTo>
                    <a:pt x="3549" y="2412"/>
                  </a:lnTo>
                  <a:lnTo>
                    <a:pt x="3549" y="4505"/>
                  </a:lnTo>
                  <a:lnTo>
                    <a:pt x="3549" y="4505"/>
                  </a:lnTo>
                  <a:lnTo>
                    <a:pt x="3550" y="4519"/>
                  </a:lnTo>
                  <a:lnTo>
                    <a:pt x="3552" y="4532"/>
                  </a:lnTo>
                  <a:lnTo>
                    <a:pt x="3555" y="4545"/>
                  </a:lnTo>
                  <a:lnTo>
                    <a:pt x="3561" y="4557"/>
                  </a:lnTo>
                  <a:lnTo>
                    <a:pt x="3566" y="4570"/>
                  </a:lnTo>
                  <a:lnTo>
                    <a:pt x="3573" y="4581"/>
                  </a:lnTo>
                  <a:lnTo>
                    <a:pt x="3580" y="4592"/>
                  </a:lnTo>
                  <a:lnTo>
                    <a:pt x="3590" y="4601"/>
                  </a:lnTo>
                  <a:lnTo>
                    <a:pt x="3599" y="4610"/>
                  </a:lnTo>
                  <a:lnTo>
                    <a:pt x="3610" y="4618"/>
                  </a:lnTo>
                  <a:lnTo>
                    <a:pt x="3621" y="4624"/>
                  </a:lnTo>
                  <a:lnTo>
                    <a:pt x="3633" y="4631"/>
                  </a:lnTo>
                  <a:lnTo>
                    <a:pt x="3645" y="4635"/>
                  </a:lnTo>
                  <a:lnTo>
                    <a:pt x="3659" y="4638"/>
                  </a:lnTo>
                  <a:lnTo>
                    <a:pt x="3672" y="4640"/>
                  </a:lnTo>
                  <a:lnTo>
                    <a:pt x="3686" y="4641"/>
                  </a:lnTo>
                  <a:lnTo>
                    <a:pt x="3686" y="4641"/>
                  </a:lnTo>
                  <a:lnTo>
                    <a:pt x="3700" y="4640"/>
                  </a:lnTo>
                  <a:lnTo>
                    <a:pt x="3713" y="4638"/>
                  </a:lnTo>
                  <a:lnTo>
                    <a:pt x="3727" y="4635"/>
                  </a:lnTo>
                  <a:lnTo>
                    <a:pt x="3739" y="4631"/>
                  </a:lnTo>
                  <a:lnTo>
                    <a:pt x="3751" y="4624"/>
                  </a:lnTo>
                  <a:lnTo>
                    <a:pt x="3762" y="4618"/>
                  </a:lnTo>
                  <a:lnTo>
                    <a:pt x="3773" y="4610"/>
                  </a:lnTo>
                  <a:lnTo>
                    <a:pt x="3782" y="4601"/>
                  </a:lnTo>
                  <a:lnTo>
                    <a:pt x="3792" y="4592"/>
                  </a:lnTo>
                  <a:lnTo>
                    <a:pt x="3799" y="4581"/>
                  </a:lnTo>
                  <a:lnTo>
                    <a:pt x="3806" y="4570"/>
                  </a:lnTo>
                  <a:lnTo>
                    <a:pt x="3812" y="4557"/>
                  </a:lnTo>
                  <a:lnTo>
                    <a:pt x="3817" y="4545"/>
                  </a:lnTo>
                  <a:lnTo>
                    <a:pt x="3820" y="4532"/>
                  </a:lnTo>
                  <a:lnTo>
                    <a:pt x="3822" y="4519"/>
                  </a:lnTo>
                  <a:lnTo>
                    <a:pt x="3822" y="4505"/>
                  </a:lnTo>
                  <a:lnTo>
                    <a:pt x="3822" y="2412"/>
                  </a:lnTo>
                  <a:lnTo>
                    <a:pt x="3822" y="2412"/>
                  </a:lnTo>
                  <a:lnTo>
                    <a:pt x="3822" y="2382"/>
                  </a:lnTo>
                  <a:lnTo>
                    <a:pt x="3820" y="2351"/>
                  </a:lnTo>
                  <a:lnTo>
                    <a:pt x="3816" y="2322"/>
                  </a:lnTo>
                  <a:lnTo>
                    <a:pt x="3810" y="2293"/>
                  </a:lnTo>
                  <a:lnTo>
                    <a:pt x="3804" y="2263"/>
                  </a:lnTo>
                  <a:lnTo>
                    <a:pt x="3796" y="2236"/>
                  </a:lnTo>
                  <a:lnTo>
                    <a:pt x="3786" y="2208"/>
                  </a:lnTo>
                  <a:lnTo>
                    <a:pt x="3776" y="2182"/>
                  </a:lnTo>
                  <a:lnTo>
                    <a:pt x="3764" y="2156"/>
                  </a:lnTo>
                  <a:lnTo>
                    <a:pt x="3751" y="2130"/>
                  </a:lnTo>
                  <a:lnTo>
                    <a:pt x="3736" y="2106"/>
                  </a:lnTo>
                  <a:lnTo>
                    <a:pt x="3722" y="2081"/>
                  </a:lnTo>
                  <a:lnTo>
                    <a:pt x="3705" y="2057"/>
                  </a:lnTo>
                  <a:lnTo>
                    <a:pt x="3687" y="2035"/>
                  </a:lnTo>
                  <a:lnTo>
                    <a:pt x="3668" y="2015"/>
                  </a:lnTo>
                  <a:lnTo>
                    <a:pt x="3649" y="1994"/>
                  </a:lnTo>
                  <a:lnTo>
                    <a:pt x="3628" y="1974"/>
                  </a:lnTo>
                  <a:lnTo>
                    <a:pt x="3607" y="1955"/>
                  </a:lnTo>
                  <a:lnTo>
                    <a:pt x="3585" y="1938"/>
                  </a:lnTo>
                  <a:lnTo>
                    <a:pt x="3562" y="1921"/>
                  </a:lnTo>
                  <a:lnTo>
                    <a:pt x="3537" y="1906"/>
                  </a:lnTo>
                  <a:lnTo>
                    <a:pt x="3512" y="1891"/>
                  </a:lnTo>
                  <a:lnTo>
                    <a:pt x="3487" y="1879"/>
                  </a:lnTo>
                  <a:lnTo>
                    <a:pt x="3461" y="1867"/>
                  </a:lnTo>
                  <a:lnTo>
                    <a:pt x="3434" y="1856"/>
                  </a:lnTo>
                  <a:lnTo>
                    <a:pt x="3407" y="1847"/>
                  </a:lnTo>
                  <a:lnTo>
                    <a:pt x="3379" y="1839"/>
                  </a:lnTo>
                  <a:lnTo>
                    <a:pt x="3350" y="1833"/>
                  </a:lnTo>
                  <a:lnTo>
                    <a:pt x="3321" y="1827"/>
                  </a:lnTo>
                  <a:lnTo>
                    <a:pt x="3292" y="1823"/>
                  </a:lnTo>
                  <a:lnTo>
                    <a:pt x="3261" y="1821"/>
                  </a:lnTo>
                  <a:lnTo>
                    <a:pt x="3231" y="1820"/>
                  </a:lnTo>
                  <a:lnTo>
                    <a:pt x="3231" y="1820"/>
                  </a:lnTo>
                  <a:close/>
                  <a:moveTo>
                    <a:pt x="2867" y="1820"/>
                  </a:moveTo>
                  <a:lnTo>
                    <a:pt x="956" y="1820"/>
                  </a:lnTo>
                  <a:lnTo>
                    <a:pt x="956" y="1235"/>
                  </a:lnTo>
                  <a:lnTo>
                    <a:pt x="956" y="1235"/>
                  </a:lnTo>
                  <a:lnTo>
                    <a:pt x="957" y="1186"/>
                  </a:lnTo>
                  <a:lnTo>
                    <a:pt x="961" y="1137"/>
                  </a:lnTo>
                  <a:lnTo>
                    <a:pt x="966" y="1089"/>
                  </a:lnTo>
                  <a:lnTo>
                    <a:pt x="975" y="1042"/>
                  </a:lnTo>
                  <a:lnTo>
                    <a:pt x="986" y="995"/>
                  </a:lnTo>
                  <a:lnTo>
                    <a:pt x="999" y="950"/>
                  </a:lnTo>
                  <a:lnTo>
                    <a:pt x="1014" y="905"/>
                  </a:lnTo>
                  <a:lnTo>
                    <a:pt x="1031" y="861"/>
                  </a:lnTo>
                  <a:lnTo>
                    <a:pt x="1050" y="818"/>
                  </a:lnTo>
                  <a:lnTo>
                    <a:pt x="1071" y="777"/>
                  </a:lnTo>
                  <a:lnTo>
                    <a:pt x="1094" y="736"/>
                  </a:lnTo>
                  <a:lnTo>
                    <a:pt x="1119" y="698"/>
                  </a:lnTo>
                  <a:lnTo>
                    <a:pt x="1146" y="660"/>
                  </a:lnTo>
                  <a:lnTo>
                    <a:pt x="1175" y="623"/>
                  </a:lnTo>
                  <a:lnTo>
                    <a:pt x="1204" y="589"/>
                  </a:lnTo>
                  <a:lnTo>
                    <a:pt x="1236" y="555"/>
                  </a:lnTo>
                  <a:lnTo>
                    <a:pt x="1269" y="523"/>
                  </a:lnTo>
                  <a:lnTo>
                    <a:pt x="1304" y="493"/>
                  </a:lnTo>
                  <a:lnTo>
                    <a:pt x="1340" y="464"/>
                  </a:lnTo>
                  <a:lnTo>
                    <a:pt x="1378" y="437"/>
                  </a:lnTo>
                  <a:lnTo>
                    <a:pt x="1416" y="412"/>
                  </a:lnTo>
                  <a:lnTo>
                    <a:pt x="1456" y="389"/>
                  </a:lnTo>
                  <a:lnTo>
                    <a:pt x="1498" y="368"/>
                  </a:lnTo>
                  <a:lnTo>
                    <a:pt x="1540" y="348"/>
                  </a:lnTo>
                  <a:lnTo>
                    <a:pt x="1584" y="332"/>
                  </a:lnTo>
                  <a:lnTo>
                    <a:pt x="1628" y="316"/>
                  </a:lnTo>
                  <a:lnTo>
                    <a:pt x="1673" y="303"/>
                  </a:lnTo>
                  <a:lnTo>
                    <a:pt x="1720" y="293"/>
                  </a:lnTo>
                  <a:lnTo>
                    <a:pt x="1766" y="285"/>
                  </a:lnTo>
                  <a:lnTo>
                    <a:pt x="1814" y="278"/>
                  </a:lnTo>
                  <a:lnTo>
                    <a:pt x="1862" y="274"/>
                  </a:lnTo>
                  <a:lnTo>
                    <a:pt x="1887" y="273"/>
                  </a:lnTo>
                  <a:lnTo>
                    <a:pt x="1911" y="273"/>
                  </a:lnTo>
                  <a:lnTo>
                    <a:pt x="1911" y="273"/>
                  </a:lnTo>
                  <a:lnTo>
                    <a:pt x="1936" y="273"/>
                  </a:lnTo>
                  <a:lnTo>
                    <a:pt x="1960" y="274"/>
                  </a:lnTo>
                  <a:lnTo>
                    <a:pt x="2009" y="278"/>
                  </a:lnTo>
                  <a:lnTo>
                    <a:pt x="2056" y="285"/>
                  </a:lnTo>
                  <a:lnTo>
                    <a:pt x="2103" y="293"/>
                  </a:lnTo>
                  <a:lnTo>
                    <a:pt x="2149" y="303"/>
                  </a:lnTo>
                  <a:lnTo>
                    <a:pt x="2196" y="316"/>
                  </a:lnTo>
                  <a:lnTo>
                    <a:pt x="2239" y="332"/>
                  </a:lnTo>
                  <a:lnTo>
                    <a:pt x="2283" y="348"/>
                  </a:lnTo>
                  <a:lnTo>
                    <a:pt x="2325" y="368"/>
                  </a:lnTo>
                  <a:lnTo>
                    <a:pt x="2366" y="389"/>
                  </a:lnTo>
                  <a:lnTo>
                    <a:pt x="2407" y="412"/>
                  </a:lnTo>
                  <a:lnTo>
                    <a:pt x="2445" y="437"/>
                  </a:lnTo>
                  <a:lnTo>
                    <a:pt x="2483" y="464"/>
                  </a:lnTo>
                  <a:lnTo>
                    <a:pt x="2519" y="493"/>
                  </a:lnTo>
                  <a:lnTo>
                    <a:pt x="2553" y="523"/>
                  </a:lnTo>
                  <a:lnTo>
                    <a:pt x="2587" y="555"/>
                  </a:lnTo>
                  <a:lnTo>
                    <a:pt x="2618" y="589"/>
                  </a:lnTo>
                  <a:lnTo>
                    <a:pt x="2648" y="623"/>
                  </a:lnTo>
                  <a:lnTo>
                    <a:pt x="2677" y="660"/>
                  </a:lnTo>
                  <a:lnTo>
                    <a:pt x="2704" y="698"/>
                  </a:lnTo>
                  <a:lnTo>
                    <a:pt x="2728" y="736"/>
                  </a:lnTo>
                  <a:lnTo>
                    <a:pt x="2752" y="777"/>
                  </a:lnTo>
                  <a:lnTo>
                    <a:pt x="2773" y="818"/>
                  </a:lnTo>
                  <a:lnTo>
                    <a:pt x="2792" y="861"/>
                  </a:lnTo>
                  <a:lnTo>
                    <a:pt x="2808" y="905"/>
                  </a:lnTo>
                  <a:lnTo>
                    <a:pt x="2824" y="950"/>
                  </a:lnTo>
                  <a:lnTo>
                    <a:pt x="2837" y="995"/>
                  </a:lnTo>
                  <a:lnTo>
                    <a:pt x="2847" y="1042"/>
                  </a:lnTo>
                  <a:lnTo>
                    <a:pt x="2856" y="1089"/>
                  </a:lnTo>
                  <a:lnTo>
                    <a:pt x="2862" y="1137"/>
                  </a:lnTo>
                  <a:lnTo>
                    <a:pt x="2866" y="1186"/>
                  </a:lnTo>
                  <a:lnTo>
                    <a:pt x="2867" y="1235"/>
                  </a:lnTo>
                  <a:lnTo>
                    <a:pt x="2867" y="1820"/>
                  </a:lnTo>
                  <a:close/>
                </a:path>
              </a:pathLst>
            </a:custGeom>
            <a:grpFill/>
            <a:ln>
              <a:solidFill>
                <a:schemeClr val="accent2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29" name="Freeform 52">
            <a:extLst>
              <a:ext uri="{FF2B5EF4-FFF2-40B4-BE49-F238E27FC236}">
                <a16:creationId xmlns:a16="http://schemas.microsoft.com/office/drawing/2014/main" id="{DE89DD6C-6C1B-5745-E775-7D02B78E4FBF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5914963" y="4019971"/>
            <a:ext cx="441492" cy="365315"/>
          </a:xfrm>
          <a:custGeom>
            <a:avLst/>
            <a:gdLst>
              <a:gd name="T0" fmla="*/ 5604 w 5610"/>
              <a:gd name="T1" fmla="*/ 1933 h 4642"/>
              <a:gd name="T2" fmla="*/ 3659 w 5610"/>
              <a:gd name="T3" fmla="*/ 2 h 4642"/>
              <a:gd name="T4" fmla="*/ 2887 w 5610"/>
              <a:gd name="T5" fmla="*/ 686 h 4642"/>
              <a:gd name="T6" fmla="*/ 2827 w 5610"/>
              <a:gd name="T7" fmla="*/ 891 h 4642"/>
              <a:gd name="T8" fmla="*/ 1886 w 5610"/>
              <a:gd name="T9" fmla="*/ 50 h 4642"/>
              <a:gd name="T10" fmla="*/ 2 w 5610"/>
              <a:gd name="T11" fmla="*/ 1951 h 4642"/>
              <a:gd name="T12" fmla="*/ 65 w 5610"/>
              <a:gd name="T13" fmla="*/ 2099 h 4642"/>
              <a:gd name="T14" fmla="*/ 224 w 5610"/>
              <a:gd name="T15" fmla="*/ 2099 h 4642"/>
              <a:gd name="T16" fmla="*/ 2578 w 5610"/>
              <a:gd name="T17" fmla="*/ 1468 h 4642"/>
              <a:gd name="T18" fmla="*/ 2193 w 5610"/>
              <a:gd name="T19" fmla="*/ 1784 h 4642"/>
              <a:gd name="T20" fmla="*/ 1884 w 5610"/>
              <a:gd name="T21" fmla="*/ 1997 h 4642"/>
              <a:gd name="T22" fmla="*/ 1769 w 5610"/>
              <a:gd name="T23" fmla="*/ 2251 h 4642"/>
              <a:gd name="T24" fmla="*/ 1783 w 5610"/>
              <a:gd name="T25" fmla="*/ 2532 h 4642"/>
              <a:gd name="T26" fmla="*/ 1926 w 5610"/>
              <a:gd name="T27" fmla="*/ 2760 h 4642"/>
              <a:gd name="T28" fmla="*/ 2174 w 5610"/>
              <a:gd name="T29" fmla="*/ 2897 h 4642"/>
              <a:gd name="T30" fmla="*/ 2410 w 5610"/>
              <a:gd name="T31" fmla="*/ 2909 h 4642"/>
              <a:gd name="T32" fmla="*/ 3102 w 5610"/>
              <a:gd name="T33" fmla="*/ 2631 h 4642"/>
              <a:gd name="T34" fmla="*/ 3522 w 5610"/>
              <a:gd name="T35" fmla="*/ 2278 h 4642"/>
              <a:gd name="T36" fmla="*/ 4492 w 5610"/>
              <a:gd name="T37" fmla="*/ 2981 h 4642"/>
              <a:gd name="T38" fmla="*/ 4499 w 5610"/>
              <a:gd name="T39" fmla="*/ 3163 h 4642"/>
              <a:gd name="T40" fmla="*/ 4399 w 5610"/>
              <a:gd name="T41" fmla="*/ 3305 h 4642"/>
              <a:gd name="T42" fmla="*/ 4189 w 5610"/>
              <a:gd name="T43" fmla="*/ 3356 h 4642"/>
              <a:gd name="T44" fmla="*/ 3794 w 5610"/>
              <a:gd name="T45" fmla="*/ 3060 h 4642"/>
              <a:gd name="T46" fmla="*/ 3629 w 5610"/>
              <a:gd name="T47" fmla="*/ 3071 h 4642"/>
              <a:gd name="T48" fmla="*/ 3585 w 5610"/>
              <a:gd name="T49" fmla="*/ 3220 h 4642"/>
              <a:gd name="T50" fmla="*/ 3821 w 5610"/>
              <a:gd name="T51" fmla="*/ 3486 h 4642"/>
              <a:gd name="T52" fmla="*/ 3847 w 5610"/>
              <a:gd name="T53" fmla="*/ 3667 h 4642"/>
              <a:gd name="T54" fmla="*/ 3750 w 5610"/>
              <a:gd name="T55" fmla="*/ 3828 h 4642"/>
              <a:gd name="T56" fmla="*/ 3582 w 5610"/>
              <a:gd name="T57" fmla="*/ 3891 h 4642"/>
              <a:gd name="T58" fmla="*/ 3144 w 5610"/>
              <a:gd name="T59" fmla="*/ 3596 h 4642"/>
              <a:gd name="T60" fmla="*/ 2978 w 5610"/>
              <a:gd name="T61" fmla="*/ 3589 h 4642"/>
              <a:gd name="T62" fmla="*/ 2920 w 5610"/>
              <a:gd name="T63" fmla="*/ 3735 h 4642"/>
              <a:gd name="T64" fmla="*/ 3083 w 5610"/>
              <a:gd name="T65" fmla="*/ 3930 h 4642"/>
              <a:gd name="T66" fmla="*/ 3126 w 5610"/>
              <a:gd name="T67" fmla="*/ 4107 h 4642"/>
              <a:gd name="T68" fmla="*/ 3049 w 5610"/>
              <a:gd name="T69" fmla="*/ 4276 h 4642"/>
              <a:gd name="T70" fmla="*/ 2908 w 5610"/>
              <a:gd name="T71" fmla="*/ 4354 h 4642"/>
              <a:gd name="T72" fmla="*/ 822 w 5610"/>
              <a:gd name="T73" fmla="*/ 2490 h 4642"/>
              <a:gd name="T74" fmla="*/ 670 w 5610"/>
              <a:gd name="T75" fmla="*/ 2462 h 4642"/>
              <a:gd name="T76" fmla="*/ 583 w 5610"/>
              <a:gd name="T77" fmla="*/ 2592 h 4642"/>
              <a:gd name="T78" fmla="*/ 2541 w 5610"/>
              <a:gd name="T79" fmla="*/ 4551 h 4642"/>
              <a:gd name="T80" fmla="*/ 2855 w 5610"/>
              <a:gd name="T81" fmla="*/ 4642 h 4642"/>
              <a:gd name="T82" fmla="*/ 3166 w 5610"/>
              <a:gd name="T83" fmla="*/ 4542 h 4642"/>
              <a:gd name="T84" fmla="*/ 3354 w 5610"/>
              <a:gd name="T85" fmla="*/ 4321 h 4642"/>
              <a:gd name="T86" fmla="*/ 3477 w 5610"/>
              <a:gd name="T87" fmla="*/ 4166 h 4642"/>
              <a:gd name="T88" fmla="*/ 3723 w 5610"/>
              <a:gd name="T89" fmla="*/ 4153 h 4642"/>
              <a:gd name="T90" fmla="*/ 3942 w 5610"/>
              <a:gd name="T91" fmla="*/ 4032 h 4642"/>
              <a:gd name="T92" fmla="*/ 4106 w 5610"/>
              <a:gd name="T93" fmla="*/ 3782 h 4642"/>
              <a:gd name="T94" fmla="*/ 4331 w 5610"/>
              <a:gd name="T95" fmla="*/ 3633 h 4642"/>
              <a:gd name="T96" fmla="*/ 4659 w 5610"/>
              <a:gd name="T97" fmla="*/ 3442 h 4642"/>
              <a:gd name="T98" fmla="*/ 4776 w 5610"/>
              <a:gd name="T99" fmla="*/ 3211 h 4642"/>
              <a:gd name="T100" fmla="*/ 4784 w 5610"/>
              <a:gd name="T101" fmla="*/ 2960 h 4642"/>
              <a:gd name="T102" fmla="*/ 3673 w 5610"/>
              <a:gd name="T103" fmla="*/ 1785 h 4642"/>
              <a:gd name="T104" fmla="*/ 3552 w 5610"/>
              <a:gd name="T105" fmla="*/ 1806 h 4642"/>
              <a:gd name="T106" fmla="*/ 3321 w 5610"/>
              <a:gd name="T107" fmla="*/ 2091 h 4642"/>
              <a:gd name="T108" fmla="*/ 2956 w 5610"/>
              <a:gd name="T109" fmla="*/ 2392 h 4642"/>
              <a:gd name="T110" fmla="*/ 2378 w 5610"/>
              <a:gd name="T111" fmla="*/ 2627 h 4642"/>
              <a:gd name="T112" fmla="*/ 2177 w 5610"/>
              <a:gd name="T113" fmla="*/ 2600 h 4642"/>
              <a:gd name="T114" fmla="*/ 2052 w 5610"/>
              <a:gd name="T115" fmla="*/ 2450 h 4642"/>
              <a:gd name="T116" fmla="*/ 2046 w 5610"/>
              <a:gd name="T117" fmla="*/ 2280 h 4642"/>
              <a:gd name="T118" fmla="*/ 2142 w 5610"/>
              <a:gd name="T119" fmla="*/ 2135 h 4642"/>
              <a:gd name="T120" fmla="*/ 2574 w 5610"/>
              <a:gd name="T121" fmla="*/ 1857 h 4642"/>
              <a:gd name="T122" fmla="*/ 3024 w 5610"/>
              <a:gd name="T123" fmla="*/ 1269 h 4642"/>
              <a:gd name="T124" fmla="*/ 3129 w 5610"/>
              <a:gd name="T125" fmla="*/ 839 h 46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610" h="4642">
                <a:moveTo>
                  <a:pt x="5573" y="2074"/>
                </a:moveTo>
                <a:lnTo>
                  <a:pt x="5573" y="2074"/>
                </a:lnTo>
                <a:lnTo>
                  <a:pt x="5582" y="2063"/>
                </a:lnTo>
                <a:lnTo>
                  <a:pt x="5589" y="2052"/>
                </a:lnTo>
                <a:lnTo>
                  <a:pt x="5597" y="2039"/>
                </a:lnTo>
                <a:lnTo>
                  <a:pt x="5602" y="2027"/>
                </a:lnTo>
                <a:lnTo>
                  <a:pt x="5606" y="2014"/>
                </a:lnTo>
                <a:lnTo>
                  <a:pt x="5608" y="2000"/>
                </a:lnTo>
                <a:lnTo>
                  <a:pt x="5610" y="1987"/>
                </a:lnTo>
                <a:lnTo>
                  <a:pt x="5610" y="1973"/>
                </a:lnTo>
                <a:lnTo>
                  <a:pt x="5609" y="1960"/>
                </a:lnTo>
                <a:lnTo>
                  <a:pt x="5607" y="1947"/>
                </a:lnTo>
                <a:lnTo>
                  <a:pt x="5604" y="1933"/>
                </a:lnTo>
                <a:lnTo>
                  <a:pt x="5599" y="1921"/>
                </a:lnTo>
                <a:lnTo>
                  <a:pt x="5594" y="1909"/>
                </a:lnTo>
                <a:lnTo>
                  <a:pt x="5586" y="1896"/>
                </a:lnTo>
                <a:lnTo>
                  <a:pt x="5578" y="1885"/>
                </a:lnTo>
                <a:lnTo>
                  <a:pt x="5568" y="1875"/>
                </a:lnTo>
                <a:lnTo>
                  <a:pt x="3732" y="41"/>
                </a:lnTo>
                <a:lnTo>
                  <a:pt x="3732" y="41"/>
                </a:lnTo>
                <a:lnTo>
                  <a:pt x="3722" y="31"/>
                </a:lnTo>
                <a:lnTo>
                  <a:pt x="3709" y="23"/>
                </a:lnTo>
                <a:lnTo>
                  <a:pt x="3698" y="15"/>
                </a:lnTo>
                <a:lnTo>
                  <a:pt x="3685" y="9"/>
                </a:lnTo>
                <a:lnTo>
                  <a:pt x="3672" y="5"/>
                </a:lnTo>
                <a:lnTo>
                  <a:pt x="3659" y="2"/>
                </a:lnTo>
                <a:lnTo>
                  <a:pt x="3646" y="0"/>
                </a:lnTo>
                <a:lnTo>
                  <a:pt x="3632" y="0"/>
                </a:lnTo>
                <a:lnTo>
                  <a:pt x="3619" y="0"/>
                </a:lnTo>
                <a:lnTo>
                  <a:pt x="3605" y="2"/>
                </a:lnTo>
                <a:lnTo>
                  <a:pt x="3592" y="6"/>
                </a:lnTo>
                <a:lnTo>
                  <a:pt x="3579" y="10"/>
                </a:lnTo>
                <a:lnTo>
                  <a:pt x="3566" y="16"/>
                </a:lnTo>
                <a:lnTo>
                  <a:pt x="3554" y="25"/>
                </a:lnTo>
                <a:lnTo>
                  <a:pt x="3543" y="33"/>
                </a:lnTo>
                <a:lnTo>
                  <a:pt x="3532" y="43"/>
                </a:lnTo>
                <a:lnTo>
                  <a:pt x="3532" y="43"/>
                </a:lnTo>
                <a:lnTo>
                  <a:pt x="2887" y="686"/>
                </a:lnTo>
                <a:lnTo>
                  <a:pt x="2887" y="686"/>
                </a:lnTo>
                <a:lnTo>
                  <a:pt x="2878" y="695"/>
                </a:lnTo>
                <a:lnTo>
                  <a:pt x="2871" y="704"/>
                </a:lnTo>
                <a:lnTo>
                  <a:pt x="2865" y="714"/>
                </a:lnTo>
                <a:lnTo>
                  <a:pt x="2859" y="724"/>
                </a:lnTo>
                <a:lnTo>
                  <a:pt x="2855" y="735"/>
                </a:lnTo>
                <a:lnTo>
                  <a:pt x="2851" y="746"/>
                </a:lnTo>
                <a:lnTo>
                  <a:pt x="2848" y="757"/>
                </a:lnTo>
                <a:lnTo>
                  <a:pt x="2847" y="769"/>
                </a:lnTo>
                <a:lnTo>
                  <a:pt x="2847" y="769"/>
                </a:lnTo>
                <a:lnTo>
                  <a:pt x="2841" y="804"/>
                </a:lnTo>
                <a:lnTo>
                  <a:pt x="2835" y="844"/>
                </a:lnTo>
                <a:lnTo>
                  <a:pt x="2827" y="891"/>
                </a:lnTo>
                <a:lnTo>
                  <a:pt x="2827" y="891"/>
                </a:lnTo>
                <a:lnTo>
                  <a:pt x="2021" y="84"/>
                </a:lnTo>
                <a:lnTo>
                  <a:pt x="2021" y="84"/>
                </a:lnTo>
                <a:lnTo>
                  <a:pt x="2011" y="74"/>
                </a:lnTo>
                <a:lnTo>
                  <a:pt x="1999" y="66"/>
                </a:lnTo>
                <a:lnTo>
                  <a:pt x="1987" y="59"/>
                </a:lnTo>
                <a:lnTo>
                  <a:pt x="1975" y="54"/>
                </a:lnTo>
                <a:lnTo>
                  <a:pt x="1962" y="48"/>
                </a:lnTo>
                <a:lnTo>
                  <a:pt x="1950" y="45"/>
                </a:lnTo>
                <a:lnTo>
                  <a:pt x="1938" y="44"/>
                </a:lnTo>
                <a:lnTo>
                  <a:pt x="1924" y="44"/>
                </a:lnTo>
                <a:lnTo>
                  <a:pt x="1912" y="45"/>
                </a:lnTo>
                <a:lnTo>
                  <a:pt x="1899" y="47"/>
                </a:lnTo>
                <a:lnTo>
                  <a:pt x="1886" y="50"/>
                </a:lnTo>
                <a:lnTo>
                  <a:pt x="1874" y="56"/>
                </a:lnTo>
                <a:lnTo>
                  <a:pt x="1862" y="62"/>
                </a:lnTo>
                <a:lnTo>
                  <a:pt x="1850" y="70"/>
                </a:lnTo>
                <a:lnTo>
                  <a:pt x="1838" y="78"/>
                </a:lnTo>
                <a:lnTo>
                  <a:pt x="1828" y="89"/>
                </a:lnTo>
                <a:lnTo>
                  <a:pt x="42" y="1876"/>
                </a:lnTo>
                <a:lnTo>
                  <a:pt x="42" y="1876"/>
                </a:lnTo>
                <a:lnTo>
                  <a:pt x="32" y="1887"/>
                </a:lnTo>
                <a:lnTo>
                  <a:pt x="24" y="1898"/>
                </a:lnTo>
                <a:lnTo>
                  <a:pt x="16" y="1911"/>
                </a:lnTo>
                <a:lnTo>
                  <a:pt x="10" y="1924"/>
                </a:lnTo>
                <a:lnTo>
                  <a:pt x="5" y="1936"/>
                </a:lnTo>
                <a:lnTo>
                  <a:pt x="2" y="1951"/>
                </a:lnTo>
                <a:lnTo>
                  <a:pt x="0" y="1964"/>
                </a:lnTo>
                <a:lnTo>
                  <a:pt x="0" y="1979"/>
                </a:lnTo>
                <a:lnTo>
                  <a:pt x="0" y="1992"/>
                </a:lnTo>
                <a:lnTo>
                  <a:pt x="2" y="2005"/>
                </a:lnTo>
                <a:lnTo>
                  <a:pt x="5" y="2020"/>
                </a:lnTo>
                <a:lnTo>
                  <a:pt x="10" y="2033"/>
                </a:lnTo>
                <a:lnTo>
                  <a:pt x="16" y="2045"/>
                </a:lnTo>
                <a:lnTo>
                  <a:pt x="24" y="2058"/>
                </a:lnTo>
                <a:lnTo>
                  <a:pt x="32" y="2069"/>
                </a:lnTo>
                <a:lnTo>
                  <a:pt x="42" y="2081"/>
                </a:lnTo>
                <a:lnTo>
                  <a:pt x="42" y="2081"/>
                </a:lnTo>
                <a:lnTo>
                  <a:pt x="52" y="2091"/>
                </a:lnTo>
                <a:lnTo>
                  <a:pt x="65" y="2099"/>
                </a:lnTo>
                <a:lnTo>
                  <a:pt x="77" y="2106"/>
                </a:lnTo>
                <a:lnTo>
                  <a:pt x="89" y="2112"/>
                </a:lnTo>
                <a:lnTo>
                  <a:pt x="103" y="2118"/>
                </a:lnTo>
                <a:lnTo>
                  <a:pt x="117" y="2121"/>
                </a:lnTo>
                <a:lnTo>
                  <a:pt x="130" y="2123"/>
                </a:lnTo>
                <a:lnTo>
                  <a:pt x="144" y="2123"/>
                </a:lnTo>
                <a:lnTo>
                  <a:pt x="144" y="2123"/>
                </a:lnTo>
                <a:lnTo>
                  <a:pt x="158" y="2123"/>
                </a:lnTo>
                <a:lnTo>
                  <a:pt x="171" y="2121"/>
                </a:lnTo>
                <a:lnTo>
                  <a:pt x="186" y="2118"/>
                </a:lnTo>
                <a:lnTo>
                  <a:pt x="199" y="2112"/>
                </a:lnTo>
                <a:lnTo>
                  <a:pt x="212" y="2106"/>
                </a:lnTo>
                <a:lnTo>
                  <a:pt x="224" y="2099"/>
                </a:lnTo>
                <a:lnTo>
                  <a:pt x="235" y="2091"/>
                </a:lnTo>
                <a:lnTo>
                  <a:pt x="246" y="2081"/>
                </a:lnTo>
                <a:lnTo>
                  <a:pt x="1933" y="393"/>
                </a:lnTo>
                <a:lnTo>
                  <a:pt x="2738" y="1198"/>
                </a:lnTo>
                <a:lnTo>
                  <a:pt x="2738" y="1198"/>
                </a:lnTo>
                <a:lnTo>
                  <a:pt x="2721" y="1236"/>
                </a:lnTo>
                <a:lnTo>
                  <a:pt x="2704" y="1273"/>
                </a:lnTo>
                <a:lnTo>
                  <a:pt x="2685" y="1309"/>
                </a:lnTo>
                <a:lnTo>
                  <a:pt x="2666" y="1343"/>
                </a:lnTo>
                <a:lnTo>
                  <a:pt x="2645" y="1376"/>
                </a:lnTo>
                <a:lnTo>
                  <a:pt x="2624" y="1408"/>
                </a:lnTo>
                <a:lnTo>
                  <a:pt x="2601" y="1438"/>
                </a:lnTo>
                <a:lnTo>
                  <a:pt x="2578" y="1468"/>
                </a:lnTo>
                <a:lnTo>
                  <a:pt x="2552" y="1497"/>
                </a:lnTo>
                <a:lnTo>
                  <a:pt x="2526" y="1525"/>
                </a:lnTo>
                <a:lnTo>
                  <a:pt x="2498" y="1553"/>
                </a:lnTo>
                <a:lnTo>
                  <a:pt x="2470" y="1580"/>
                </a:lnTo>
                <a:lnTo>
                  <a:pt x="2439" y="1607"/>
                </a:lnTo>
                <a:lnTo>
                  <a:pt x="2408" y="1634"/>
                </a:lnTo>
                <a:lnTo>
                  <a:pt x="2375" y="1660"/>
                </a:lnTo>
                <a:lnTo>
                  <a:pt x="2340" y="1686"/>
                </a:lnTo>
                <a:lnTo>
                  <a:pt x="2340" y="1686"/>
                </a:lnTo>
                <a:lnTo>
                  <a:pt x="2319" y="1703"/>
                </a:lnTo>
                <a:lnTo>
                  <a:pt x="2295" y="1719"/>
                </a:lnTo>
                <a:lnTo>
                  <a:pt x="2245" y="1752"/>
                </a:lnTo>
                <a:lnTo>
                  <a:pt x="2193" y="1784"/>
                </a:lnTo>
                <a:lnTo>
                  <a:pt x="2146" y="1812"/>
                </a:lnTo>
                <a:lnTo>
                  <a:pt x="2146" y="1812"/>
                </a:lnTo>
                <a:lnTo>
                  <a:pt x="2112" y="1827"/>
                </a:lnTo>
                <a:lnTo>
                  <a:pt x="2081" y="1844"/>
                </a:lnTo>
                <a:lnTo>
                  <a:pt x="2049" y="1860"/>
                </a:lnTo>
                <a:lnTo>
                  <a:pt x="2020" y="1879"/>
                </a:lnTo>
                <a:lnTo>
                  <a:pt x="1991" y="1897"/>
                </a:lnTo>
                <a:lnTo>
                  <a:pt x="1964" y="1918"/>
                </a:lnTo>
                <a:lnTo>
                  <a:pt x="1938" y="1940"/>
                </a:lnTo>
                <a:lnTo>
                  <a:pt x="1913" y="1965"/>
                </a:lnTo>
                <a:lnTo>
                  <a:pt x="1913" y="1965"/>
                </a:lnTo>
                <a:lnTo>
                  <a:pt x="1899" y="1981"/>
                </a:lnTo>
                <a:lnTo>
                  <a:pt x="1884" y="1997"/>
                </a:lnTo>
                <a:lnTo>
                  <a:pt x="1872" y="2014"/>
                </a:lnTo>
                <a:lnTo>
                  <a:pt x="1860" y="2031"/>
                </a:lnTo>
                <a:lnTo>
                  <a:pt x="1847" y="2050"/>
                </a:lnTo>
                <a:lnTo>
                  <a:pt x="1836" y="2068"/>
                </a:lnTo>
                <a:lnTo>
                  <a:pt x="1826" y="2087"/>
                </a:lnTo>
                <a:lnTo>
                  <a:pt x="1817" y="2106"/>
                </a:lnTo>
                <a:lnTo>
                  <a:pt x="1807" y="2126"/>
                </a:lnTo>
                <a:lnTo>
                  <a:pt x="1799" y="2146"/>
                </a:lnTo>
                <a:lnTo>
                  <a:pt x="1792" y="2167"/>
                </a:lnTo>
                <a:lnTo>
                  <a:pt x="1785" y="2188"/>
                </a:lnTo>
                <a:lnTo>
                  <a:pt x="1779" y="2209"/>
                </a:lnTo>
                <a:lnTo>
                  <a:pt x="1773" y="2230"/>
                </a:lnTo>
                <a:lnTo>
                  <a:pt x="1769" y="2251"/>
                </a:lnTo>
                <a:lnTo>
                  <a:pt x="1765" y="2273"/>
                </a:lnTo>
                <a:lnTo>
                  <a:pt x="1762" y="2295"/>
                </a:lnTo>
                <a:lnTo>
                  <a:pt x="1760" y="2317"/>
                </a:lnTo>
                <a:lnTo>
                  <a:pt x="1759" y="2339"/>
                </a:lnTo>
                <a:lnTo>
                  <a:pt x="1758" y="2361"/>
                </a:lnTo>
                <a:lnTo>
                  <a:pt x="1759" y="2382"/>
                </a:lnTo>
                <a:lnTo>
                  <a:pt x="1760" y="2404"/>
                </a:lnTo>
                <a:lnTo>
                  <a:pt x="1761" y="2426"/>
                </a:lnTo>
                <a:lnTo>
                  <a:pt x="1764" y="2447"/>
                </a:lnTo>
                <a:lnTo>
                  <a:pt x="1767" y="2469"/>
                </a:lnTo>
                <a:lnTo>
                  <a:pt x="1771" y="2490"/>
                </a:lnTo>
                <a:lnTo>
                  <a:pt x="1777" y="2511"/>
                </a:lnTo>
                <a:lnTo>
                  <a:pt x="1783" y="2532"/>
                </a:lnTo>
                <a:lnTo>
                  <a:pt x="1790" y="2552"/>
                </a:lnTo>
                <a:lnTo>
                  <a:pt x="1797" y="2572"/>
                </a:lnTo>
                <a:lnTo>
                  <a:pt x="1806" y="2591"/>
                </a:lnTo>
                <a:lnTo>
                  <a:pt x="1816" y="2611"/>
                </a:lnTo>
                <a:lnTo>
                  <a:pt x="1816" y="2611"/>
                </a:lnTo>
                <a:lnTo>
                  <a:pt x="1827" y="2632"/>
                </a:lnTo>
                <a:lnTo>
                  <a:pt x="1839" y="2652"/>
                </a:lnTo>
                <a:lnTo>
                  <a:pt x="1853" y="2672"/>
                </a:lnTo>
                <a:lnTo>
                  <a:pt x="1866" y="2691"/>
                </a:lnTo>
                <a:lnTo>
                  <a:pt x="1880" y="2710"/>
                </a:lnTo>
                <a:lnTo>
                  <a:pt x="1896" y="2727"/>
                </a:lnTo>
                <a:lnTo>
                  <a:pt x="1911" y="2744"/>
                </a:lnTo>
                <a:lnTo>
                  <a:pt x="1926" y="2760"/>
                </a:lnTo>
                <a:lnTo>
                  <a:pt x="1943" y="2775"/>
                </a:lnTo>
                <a:lnTo>
                  <a:pt x="1960" y="2789"/>
                </a:lnTo>
                <a:lnTo>
                  <a:pt x="1978" y="2804"/>
                </a:lnTo>
                <a:lnTo>
                  <a:pt x="1996" y="2816"/>
                </a:lnTo>
                <a:lnTo>
                  <a:pt x="2015" y="2828"/>
                </a:lnTo>
                <a:lnTo>
                  <a:pt x="2033" y="2840"/>
                </a:lnTo>
                <a:lnTo>
                  <a:pt x="2053" y="2850"/>
                </a:lnTo>
                <a:lnTo>
                  <a:pt x="2072" y="2860"/>
                </a:lnTo>
                <a:lnTo>
                  <a:pt x="2092" y="2869"/>
                </a:lnTo>
                <a:lnTo>
                  <a:pt x="2111" y="2878"/>
                </a:lnTo>
                <a:lnTo>
                  <a:pt x="2132" y="2885"/>
                </a:lnTo>
                <a:lnTo>
                  <a:pt x="2152" y="2891"/>
                </a:lnTo>
                <a:lnTo>
                  <a:pt x="2174" y="2897"/>
                </a:lnTo>
                <a:lnTo>
                  <a:pt x="2195" y="2902"/>
                </a:lnTo>
                <a:lnTo>
                  <a:pt x="2216" y="2907"/>
                </a:lnTo>
                <a:lnTo>
                  <a:pt x="2238" y="2910"/>
                </a:lnTo>
                <a:lnTo>
                  <a:pt x="2259" y="2913"/>
                </a:lnTo>
                <a:lnTo>
                  <a:pt x="2281" y="2914"/>
                </a:lnTo>
                <a:lnTo>
                  <a:pt x="2302" y="2915"/>
                </a:lnTo>
                <a:lnTo>
                  <a:pt x="2324" y="2915"/>
                </a:lnTo>
                <a:lnTo>
                  <a:pt x="2345" y="2914"/>
                </a:lnTo>
                <a:lnTo>
                  <a:pt x="2367" y="2913"/>
                </a:lnTo>
                <a:lnTo>
                  <a:pt x="2389" y="2910"/>
                </a:lnTo>
                <a:lnTo>
                  <a:pt x="2410" y="2907"/>
                </a:lnTo>
                <a:lnTo>
                  <a:pt x="2410" y="2909"/>
                </a:lnTo>
                <a:lnTo>
                  <a:pt x="2410" y="2909"/>
                </a:lnTo>
                <a:lnTo>
                  <a:pt x="2466" y="2896"/>
                </a:lnTo>
                <a:lnTo>
                  <a:pt x="2521" y="2883"/>
                </a:lnTo>
                <a:lnTo>
                  <a:pt x="2575" y="2867"/>
                </a:lnTo>
                <a:lnTo>
                  <a:pt x="2630" y="2851"/>
                </a:lnTo>
                <a:lnTo>
                  <a:pt x="2684" y="2832"/>
                </a:lnTo>
                <a:lnTo>
                  <a:pt x="2738" y="2813"/>
                </a:lnTo>
                <a:lnTo>
                  <a:pt x="2792" y="2791"/>
                </a:lnTo>
                <a:lnTo>
                  <a:pt x="2845" y="2769"/>
                </a:lnTo>
                <a:lnTo>
                  <a:pt x="2897" y="2744"/>
                </a:lnTo>
                <a:lnTo>
                  <a:pt x="2949" y="2718"/>
                </a:lnTo>
                <a:lnTo>
                  <a:pt x="3001" y="2690"/>
                </a:lnTo>
                <a:lnTo>
                  <a:pt x="3052" y="2661"/>
                </a:lnTo>
                <a:lnTo>
                  <a:pt x="3102" y="2631"/>
                </a:lnTo>
                <a:lnTo>
                  <a:pt x="3153" y="2599"/>
                </a:lnTo>
                <a:lnTo>
                  <a:pt x="3202" y="2565"/>
                </a:lnTo>
                <a:lnTo>
                  <a:pt x="3250" y="2530"/>
                </a:lnTo>
                <a:lnTo>
                  <a:pt x="3250" y="2530"/>
                </a:lnTo>
                <a:lnTo>
                  <a:pt x="3280" y="2506"/>
                </a:lnTo>
                <a:lnTo>
                  <a:pt x="3310" y="2482"/>
                </a:lnTo>
                <a:lnTo>
                  <a:pt x="3340" y="2457"/>
                </a:lnTo>
                <a:lnTo>
                  <a:pt x="3367" y="2433"/>
                </a:lnTo>
                <a:lnTo>
                  <a:pt x="3395" y="2408"/>
                </a:lnTo>
                <a:lnTo>
                  <a:pt x="3422" y="2382"/>
                </a:lnTo>
                <a:lnTo>
                  <a:pt x="3448" y="2357"/>
                </a:lnTo>
                <a:lnTo>
                  <a:pt x="3473" y="2331"/>
                </a:lnTo>
                <a:lnTo>
                  <a:pt x="3522" y="2278"/>
                </a:lnTo>
                <a:lnTo>
                  <a:pt x="3567" y="2227"/>
                </a:lnTo>
                <a:lnTo>
                  <a:pt x="3611" y="2174"/>
                </a:lnTo>
                <a:lnTo>
                  <a:pt x="3651" y="2124"/>
                </a:lnTo>
                <a:lnTo>
                  <a:pt x="4428" y="2883"/>
                </a:lnTo>
                <a:lnTo>
                  <a:pt x="4428" y="2883"/>
                </a:lnTo>
                <a:lnTo>
                  <a:pt x="4439" y="2894"/>
                </a:lnTo>
                <a:lnTo>
                  <a:pt x="4449" y="2905"/>
                </a:lnTo>
                <a:lnTo>
                  <a:pt x="4458" y="2918"/>
                </a:lnTo>
                <a:lnTo>
                  <a:pt x="4466" y="2929"/>
                </a:lnTo>
                <a:lnTo>
                  <a:pt x="4473" y="2942"/>
                </a:lnTo>
                <a:lnTo>
                  <a:pt x="4480" y="2955"/>
                </a:lnTo>
                <a:lnTo>
                  <a:pt x="4487" y="2968"/>
                </a:lnTo>
                <a:lnTo>
                  <a:pt x="4492" y="2981"/>
                </a:lnTo>
                <a:lnTo>
                  <a:pt x="4497" y="2995"/>
                </a:lnTo>
                <a:lnTo>
                  <a:pt x="4501" y="3008"/>
                </a:lnTo>
                <a:lnTo>
                  <a:pt x="4504" y="3022"/>
                </a:lnTo>
                <a:lnTo>
                  <a:pt x="4507" y="3036"/>
                </a:lnTo>
                <a:lnTo>
                  <a:pt x="4509" y="3051"/>
                </a:lnTo>
                <a:lnTo>
                  <a:pt x="4510" y="3064"/>
                </a:lnTo>
                <a:lnTo>
                  <a:pt x="4510" y="3079"/>
                </a:lnTo>
                <a:lnTo>
                  <a:pt x="4510" y="3093"/>
                </a:lnTo>
                <a:lnTo>
                  <a:pt x="4509" y="3107"/>
                </a:lnTo>
                <a:lnTo>
                  <a:pt x="4508" y="3121"/>
                </a:lnTo>
                <a:lnTo>
                  <a:pt x="4505" y="3135"/>
                </a:lnTo>
                <a:lnTo>
                  <a:pt x="4502" y="3150"/>
                </a:lnTo>
                <a:lnTo>
                  <a:pt x="4499" y="3163"/>
                </a:lnTo>
                <a:lnTo>
                  <a:pt x="4494" y="3176"/>
                </a:lnTo>
                <a:lnTo>
                  <a:pt x="4489" y="3190"/>
                </a:lnTo>
                <a:lnTo>
                  <a:pt x="4482" y="3203"/>
                </a:lnTo>
                <a:lnTo>
                  <a:pt x="4476" y="3217"/>
                </a:lnTo>
                <a:lnTo>
                  <a:pt x="4469" y="3229"/>
                </a:lnTo>
                <a:lnTo>
                  <a:pt x="4461" y="3241"/>
                </a:lnTo>
                <a:lnTo>
                  <a:pt x="4452" y="3253"/>
                </a:lnTo>
                <a:lnTo>
                  <a:pt x="4442" y="3265"/>
                </a:lnTo>
                <a:lnTo>
                  <a:pt x="4432" y="3276"/>
                </a:lnTo>
                <a:lnTo>
                  <a:pt x="4421" y="3287"/>
                </a:lnTo>
                <a:lnTo>
                  <a:pt x="4410" y="3297"/>
                </a:lnTo>
                <a:lnTo>
                  <a:pt x="4410" y="3297"/>
                </a:lnTo>
                <a:lnTo>
                  <a:pt x="4399" y="3305"/>
                </a:lnTo>
                <a:lnTo>
                  <a:pt x="4388" y="3313"/>
                </a:lnTo>
                <a:lnTo>
                  <a:pt x="4377" y="3321"/>
                </a:lnTo>
                <a:lnTo>
                  <a:pt x="4365" y="3327"/>
                </a:lnTo>
                <a:lnTo>
                  <a:pt x="4353" y="3333"/>
                </a:lnTo>
                <a:lnTo>
                  <a:pt x="4341" y="3338"/>
                </a:lnTo>
                <a:lnTo>
                  <a:pt x="4329" y="3343"/>
                </a:lnTo>
                <a:lnTo>
                  <a:pt x="4317" y="3347"/>
                </a:lnTo>
                <a:lnTo>
                  <a:pt x="4304" y="3350"/>
                </a:lnTo>
                <a:lnTo>
                  <a:pt x="4291" y="3354"/>
                </a:lnTo>
                <a:lnTo>
                  <a:pt x="4266" y="3358"/>
                </a:lnTo>
                <a:lnTo>
                  <a:pt x="4240" y="3359"/>
                </a:lnTo>
                <a:lnTo>
                  <a:pt x="4214" y="3359"/>
                </a:lnTo>
                <a:lnTo>
                  <a:pt x="4189" y="3356"/>
                </a:lnTo>
                <a:lnTo>
                  <a:pt x="4163" y="3350"/>
                </a:lnTo>
                <a:lnTo>
                  <a:pt x="4137" y="3342"/>
                </a:lnTo>
                <a:lnTo>
                  <a:pt x="4113" y="3333"/>
                </a:lnTo>
                <a:lnTo>
                  <a:pt x="4089" y="3321"/>
                </a:lnTo>
                <a:lnTo>
                  <a:pt x="4067" y="3307"/>
                </a:lnTo>
                <a:lnTo>
                  <a:pt x="4045" y="3291"/>
                </a:lnTo>
                <a:lnTo>
                  <a:pt x="4035" y="3281"/>
                </a:lnTo>
                <a:lnTo>
                  <a:pt x="4024" y="3272"/>
                </a:lnTo>
                <a:lnTo>
                  <a:pt x="4004" y="3253"/>
                </a:lnTo>
                <a:lnTo>
                  <a:pt x="3817" y="3079"/>
                </a:lnTo>
                <a:lnTo>
                  <a:pt x="3817" y="3079"/>
                </a:lnTo>
                <a:lnTo>
                  <a:pt x="3806" y="3068"/>
                </a:lnTo>
                <a:lnTo>
                  <a:pt x="3794" y="3060"/>
                </a:lnTo>
                <a:lnTo>
                  <a:pt x="3782" y="3054"/>
                </a:lnTo>
                <a:lnTo>
                  <a:pt x="3770" y="3048"/>
                </a:lnTo>
                <a:lnTo>
                  <a:pt x="3757" y="3044"/>
                </a:lnTo>
                <a:lnTo>
                  <a:pt x="3744" y="3040"/>
                </a:lnTo>
                <a:lnTo>
                  <a:pt x="3731" y="3038"/>
                </a:lnTo>
                <a:lnTo>
                  <a:pt x="3717" y="3038"/>
                </a:lnTo>
                <a:lnTo>
                  <a:pt x="3704" y="3039"/>
                </a:lnTo>
                <a:lnTo>
                  <a:pt x="3691" y="3041"/>
                </a:lnTo>
                <a:lnTo>
                  <a:pt x="3677" y="3045"/>
                </a:lnTo>
                <a:lnTo>
                  <a:pt x="3664" y="3050"/>
                </a:lnTo>
                <a:lnTo>
                  <a:pt x="3652" y="3055"/>
                </a:lnTo>
                <a:lnTo>
                  <a:pt x="3640" y="3062"/>
                </a:lnTo>
                <a:lnTo>
                  <a:pt x="3629" y="3071"/>
                </a:lnTo>
                <a:lnTo>
                  <a:pt x="3619" y="3081"/>
                </a:lnTo>
                <a:lnTo>
                  <a:pt x="3619" y="3081"/>
                </a:lnTo>
                <a:lnTo>
                  <a:pt x="3609" y="3091"/>
                </a:lnTo>
                <a:lnTo>
                  <a:pt x="3600" y="3103"/>
                </a:lnTo>
                <a:lnTo>
                  <a:pt x="3594" y="3115"/>
                </a:lnTo>
                <a:lnTo>
                  <a:pt x="3588" y="3127"/>
                </a:lnTo>
                <a:lnTo>
                  <a:pt x="3584" y="3140"/>
                </a:lnTo>
                <a:lnTo>
                  <a:pt x="3581" y="3154"/>
                </a:lnTo>
                <a:lnTo>
                  <a:pt x="3579" y="3167"/>
                </a:lnTo>
                <a:lnTo>
                  <a:pt x="3579" y="3180"/>
                </a:lnTo>
                <a:lnTo>
                  <a:pt x="3579" y="3194"/>
                </a:lnTo>
                <a:lnTo>
                  <a:pt x="3582" y="3207"/>
                </a:lnTo>
                <a:lnTo>
                  <a:pt x="3585" y="3220"/>
                </a:lnTo>
                <a:lnTo>
                  <a:pt x="3589" y="3233"/>
                </a:lnTo>
                <a:lnTo>
                  <a:pt x="3595" y="3245"/>
                </a:lnTo>
                <a:lnTo>
                  <a:pt x="3602" y="3257"/>
                </a:lnTo>
                <a:lnTo>
                  <a:pt x="3611" y="3268"/>
                </a:lnTo>
                <a:lnTo>
                  <a:pt x="3621" y="3278"/>
                </a:lnTo>
                <a:lnTo>
                  <a:pt x="3770" y="3415"/>
                </a:lnTo>
                <a:lnTo>
                  <a:pt x="3770" y="3415"/>
                </a:lnTo>
                <a:lnTo>
                  <a:pt x="3780" y="3426"/>
                </a:lnTo>
                <a:lnTo>
                  <a:pt x="3789" y="3437"/>
                </a:lnTo>
                <a:lnTo>
                  <a:pt x="3799" y="3449"/>
                </a:lnTo>
                <a:lnTo>
                  <a:pt x="3807" y="3462"/>
                </a:lnTo>
                <a:lnTo>
                  <a:pt x="3815" y="3474"/>
                </a:lnTo>
                <a:lnTo>
                  <a:pt x="3821" y="3486"/>
                </a:lnTo>
                <a:lnTo>
                  <a:pt x="3827" y="3500"/>
                </a:lnTo>
                <a:lnTo>
                  <a:pt x="3833" y="3513"/>
                </a:lnTo>
                <a:lnTo>
                  <a:pt x="3838" y="3527"/>
                </a:lnTo>
                <a:lnTo>
                  <a:pt x="3842" y="3540"/>
                </a:lnTo>
                <a:lnTo>
                  <a:pt x="3846" y="3554"/>
                </a:lnTo>
                <a:lnTo>
                  <a:pt x="3848" y="3568"/>
                </a:lnTo>
                <a:lnTo>
                  <a:pt x="3850" y="3582"/>
                </a:lnTo>
                <a:lnTo>
                  <a:pt x="3851" y="3597"/>
                </a:lnTo>
                <a:lnTo>
                  <a:pt x="3852" y="3610"/>
                </a:lnTo>
                <a:lnTo>
                  <a:pt x="3851" y="3624"/>
                </a:lnTo>
                <a:lnTo>
                  <a:pt x="3851" y="3639"/>
                </a:lnTo>
                <a:lnTo>
                  <a:pt x="3849" y="3653"/>
                </a:lnTo>
                <a:lnTo>
                  <a:pt x="3847" y="3667"/>
                </a:lnTo>
                <a:lnTo>
                  <a:pt x="3844" y="3681"/>
                </a:lnTo>
                <a:lnTo>
                  <a:pt x="3840" y="3694"/>
                </a:lnTo>
                <a:lnTo>
                  <a:pt x="3836" y="3708"/>
                </a:lnTo>
                <a:lnTo>
                  <a:pt x="3830" y="3721"/>
                </a:lnTo>
                <a:lnTo>
                  <a:pt x="3824" y="3735"/>
                </a:lnTo>
                <a:lnTo>
                  <a:pt x="3817" y="3748"/>
                </a:lnTo>
                <a:lnTo>
                  <a:pt x="3810" y="3760"/>
                </a:lnTo>
                <a:lnTo>
                  <a:pt x="3802" y="3773"/>
                </a:lnTo>
                <a:lnTo>
                  <a:pt x="3793" y="3785"/>
                </a:lnTo>
                <a:lnTo>
                  <a:pt x="3783" y="3796"/>
                </a:lnTo>
                <a:lnTo>
                  <a:pt x="3773" y="3808"/>
                </a:lnTo>
                <a:lnTo>
                  <a:pt x="3763" y="3818"/>
                </a:lnTo>
                <a:lnTo>
                  <a:pt x="3750" y="3828"/>
                </a:lnTo>
                <a:lnTo>
                  <a:pt x="3750" y="3828"/>
                </a:lnTo>
                <a:lnTo>
                  <a:pt x="3740" y="3837"/>
                </a:lnTo>
                <a:lnTo>
                  <a:pt x="3729" y="3845"/>
                </a:lnTo>
                <a:lnTo>
                  <a:pt x="3717" y="3852"/>
                </a:lnTo>
                <a:lnTo>
                  <a:pt x="3706" y="3858"/>
                </a:lnTo>
                <a:lnTo>
                  <a:pt x="3695" y="3864"/>
                </a:lnTo>
                <a:lnTo>
                  <a:pt x="3682" y="3870"/>
                </a:lnTo>
                <a:lnTo>
                  <a:pt x="3670" y="3875"/>
                </a:lnTo>
                <a:lnTo>
                  <a:pt x="3658" y="3879"/>
                </a:lnTo>
                <a:lnTo>
                  <a:pt x="3646" y="3882"/>
                </a:lnTo>
                <a:lnTo>
                  <a:pt x="3633" y="3885"/>
                </a:lnTo>
                <a:lnTo>
                  <a:pt x="3608" y="3889"/>
                </a:lnTo>
                <a:lnTo>
                  <a:pt x="3582" y="3891"/>
                </a:lnTo>
                <a:lnTo>
                  <a:pt x="3556" y="3890"/>
                </a:lnTo>
                <a:lnTo>
                  <a:pt x="3531" y="3887"/>
                </a:lnTo>
                <a:lnTo>
                  <a:pt x="3505" y="3882"/>
                </a:lnTo>
                <a:lnTo>
                  <a:pt x="3479" y="3875"/>
                </a:lnTo>
                <a:lnTo>
                  <a:pt x="3455" y="3865"/>
                </a:lnTo>
                <a:lnTo>
                  <a:pt x="3431" y="3853"/>
                </a:lnTo>
                <a:lnTo>
                  <a:pt x="3408" y="3840"/>
                </a:lnTo>
                <a:lnTo>
                  <a:pt x="3387" y="3823"/>
                </a:lnTo>
                <a:lnTo>
                  <a:pt x="3376" y="3814"/>
                </a:lnTo>
                <a:lnTo>
                  <a:pt x="3367" y="3805"/>
                </a:lnTo>
                <a:lnTo>
                  <a:pt x="3155" y="3606"/>
                </a:lnTo>
                <a:lnTo>
                  <a:pt x="3155" y="3606"/>
                </a:lnTo>
                <a:lnTo>
                  <a:pt x="3144" y="3596"/>
                </a:lnTo>
                <a:lnTo>
                  <a:pt x="3132" y="3588"/>
                </a:lnTo>
                <a:lnTo>
                  <a:pt x="3121" y="3581"/>
                </a:lnTo>
                <a:lnTo>
                  <a:pt x="3108" y="3575"/>
                </a:lnTo>
                <a:lnTo>
                  <a:pt x="3095" y="3571"/>
                </a:lnTo>
                <a:lnTo>
                  <a:pt x="3082" y="3568"/>
                </a:lnTo>
                <a:lnTo>
                  <a:pt x="3068" y="3566"/>
                </a:lnTo>
                <a:lnTo>
                  <a:pt x="3055" y="3566"/>
                </a:lnTo>
                <a:lnTo>
                  <a:pt x="3042" y="3567"/>
                </a:lnTo>
                <a:lnTo>
                  <a:pt x="3028" y="3569"/>
                </a:lnTo>
                <a:lnTo>
                  <a:pt x="3015" y="3572"/>
                </a:lnTo>
                <a:lnTo>
                  <a:pt x="3003" y="3577"/>
                </a:lnTo>
                <a:lnTo>
                  <a:pt x="2990" y="3582"/>
                </a:lnTo>
                <a:lnTo>
                  <a:pt x="2978" y="3589"/>
                </a:lnTo>
                <a:lnTo>
                  <a:pt x="2967" y="3599"/>
                </a:lnTo>
                <a:lnTo>
                  <a:pt x="2956" y="3608"/>
                </a:lnTo>
                <a:lnTo>
                  <a:pt x="2956" y="3608"/>
                </a:lnTo>
                <a:lnTo>
                  <a:pt x="2947" y="3618"/>
                </a:lnTo>
                <a:lnTo>
                  <a:pt x="2939" y="3631"/>
                </a:lnTo>
                <a:lnTo>
                  <a:pt x="2932" y="3642"/>
                </a:lnTo>
                <a:lnTo>
                  <a:pt x="2927" y="3654"/>
                </a:lnTo>
                <a:lnTo>
                  <a:pt x="2922" y="3668"/>
                </a:lnTo>
                <a:lnTo>
                  <a:pt x="2918" y="3681"/>
                </a:lnTo>
                <a:lnTo>
                  <a:pt x="2917" y="3694"/>
                </a:lnTo>
                <a:lnTo>
                  <a:pt x="2916" y="3708"/>
                </a:lnTo>
                <a:lnTo>
                  <a:pt x="2917" y="3721"/>
                </a:lnTo>
                <a:lnTo>
                  <a:pt x="2920" y="3735"/>
                </a:lnTo>
                <a:lnTo>
                  <a:pt x="2923" y="3747"/>
                </a:lnTo>
                <a:lnTo>
                  <a:pt x="2928" y="3760"/>
                </a:lnTo>
                <a:lnTo>
                  <a:pt x="2933" y="3773"/>
                </a:lnTo>
                <a:lnTo>
                  <a:pt x="2940" y="3784"/>
                </a:lnTo>
                <a:lnTo>
                  <a:pt x="2949" y="3795"/>
                </a:lnTo>
                <a:lnTo>
                  <a:pt x="2959" y="3806"/>
                </a:lnTo>
                <a:lnTo>
                  <a:pt x="3045" y="3883"/>
                </a:lnTo>
                <a:lnTo>
                  <a:pt x="3045" y="3884"/>
                </a:lnTo>
                <a:lnTo>
                  <a:pt x="3045" y="3884"/>
                </a:lnTo>
                <a:lnTo>
                  <a:pt x="3055" y="3894"/>
                </a:lnTo>
                <a:lnTo>
                  <a:pt x="3065" y="3906"/>
                </a:lnTo>
                <a:lnTo>
                  <a:pt x="3075" y="3918"/>
                </a:lnTo>
                <a:lnTo>
                  <a:pt x="3083" y="3930"/>
                </a:lnTo>
                <a:lnTo>
                  <a:pt x="3090" y="3943"/>
                </a:lnTo>
                <a:lnTo>
                  <a:pt x="3097" y="3955"/>
                </a:lnTo>
                <a:lnTo>
                  <a:pt x="3103" y="3968"/>
                </a:lnTo>
                <a:lnTo>
                  <a:pt x="3108" y="3982"/>
                </a:lnTo>
                <a:lnTo>
                  <a:pt x="3114" y="3995"/>
                </a:lnTo>
                <a:lnTo>
                  <a:pt x="3118" y="4009"/>
                </a:lnTo>
                <a:lnTo>
                  <a:pt x="3121" y="4023"/>
                </a:lnTo>
                <a:lnTo>
                  <a:pt x="3123" y="4036"/>
                </a:lnTo>
                <a:lnTo>
                  <a:pt x="3125" y="4051"/>
                </a:lnTo>
                <a:lnTo>
                  <a:pt x="3127" y="4065"/>
                </a:lnTo>
                <a:lnTo>
                  <a:pt x="3127" y="4079"/>
                </a:lnTo>
                <a:lnTo>
                  <a:pt x="3127" y="4093"/>
                </a:lnTo>
                <a:lnTo>
                  <a:pt x="3126" y="4107"/>
                </a:lnTo>
                <a:lnTo>
                  <a:pt x="3124" y="4122"/>
                </a:lnTo>
                <a:lnTo>
                  <a:pt x="3122" y="4135"/>
                </a:lnTo>
                <a:lnTo>
                  <a:pt x="3119" y="4150"/>
                </a:lnTo>
                <a:lnTo>
                  <a:pt x="3115" y="4163"/>
                </a:lnTo>
                <a:lnTo>
                  <a:pt x="3111" y="4176"/>
                </a:lnTo>
                <a:lnTo>
                  <a:pt x="3105" y="4190"/>
                </a:lnTo>
                <a:lnTo>
                  <a:pt x="3099" y="4203"/>
                </a:lnTo>
                <a:lnTo>
                  <a:pt x="3093" y="4217"/>
                </a:lnTo>
                <a:lnTo>
                  <a:pt x="3085" y="4229"/>
                </a:lnTo>
                <a:lnTo>
                  <a:pt x="3078" y="4241"/>
                </a:lnTo>
                <a:lnTo>
                  <a:pt x="3068" y="4254"/>
                </a:lnTo>
                <a:lnTo>
                  <a:pt x="3059" y="4265"/>
                </a:lnTo>
                <a:lnTo>
                  <a:pt x="3049" y="4276"/>
                </a:lnTo>
                <a:lnTo>
                  <a:pt x="3038" y="4287"/>
                </a:lnTo>
                <a:lnTo>
                  <a:pt x="3026" y="4297"/>
                </a:lnTo>
                <a:lnTo>
                  <a:pt x="3026" y="4297"/>
                </a:lnTo>
                <a:lnTo>
                  <a:pt x="3015" y="4305"/>
                </a:lnTo>
                <a:lnTo>
                  <a:pt x="3005" y="4313"/>
                </a:lnTo>
                <a:lnTo>
                  <a:pt x="2993" y="4321"/>
                </a:lnTo>
                <a:lnTo>
                  <a:pt x="2982" y="4327"/>
                </a:lnTo>
                <a:lnTo>
                  <a:pt x="2970" y="4333"/>
                </a:lnTo>
                <a:lnTo>
                  <a:pt x="2957" y="4338"/>
                </a:lnTo>
                <a:lnTo>
                  <a:pt x="2946" y="4343"/>
                </a:lnTo>
                <a:lnTo>
                  <a:pt x="2934" y="4347"/>
                </a:lnTo>
                <a:lnTo>
                  <a:pt x="2921" y="4351"/>
                </a:lnTo>
                <a:lnTo>
                  <a:pt x="2908" y="4354"/>
                </a:lnTo>
                <a:lnTo>
                  <a:pt x="2883" y="4358"/>
                </a:lnTo>
                <a:lnTo>
                  <a:pt x="2857" y="4360"/>
                </a:lnTo>
                <a:lnTo>
                  <a:pt x="2831" y="4359"/>
                </a:lnTo>
                <a:lnTo>
                  <a:pt x="2806" y="4356"/>
                </a:lnTo>
                <a:lnTo>
                  <a:pt x="2780" y="4351"/>
                </a:lnTo>
                <a:lnTo>
                  <a:pt x="2755" y="4343"/>
                </a:lnTo>
                <a:lnTo>
                  <a:pt x="2731" y="4334"/>
                </a:lnTo>
                <a:lnTo>
                  <a:pt x="2707" y="4322"/>
                </a:lnTo>
                <a:lnTo>
                  <a:pt x="2684" y="4308"/>
                </a:lnTo>
                <a:lnTo>
                  <a:pt x="2663" y="4292"/>
                </a:lnTo>
                <a:lnTo>
                  <a:pt x="2653" y="4284"/>
                </a:lnTo>
                <a:lnTo>
                  <a:pt x="2642" y="4273"/>
                </a:lnTo>
                <a:lnTo>
                  <a:pt x="822" y="2490"/>
                </a:lnTo>
                <a:lnTo>
                  <a:pt x="822" y="2490"/>
                </a:lnTo>
                <a:lnTo>
                  <a:pt x="810" y="2481"/>
                </a:lnTo>
                <a:lnTo>
                  <a:pt x="799" y="2473"/>
                </a:lnTo>
                <a:lnTo>
                  <a:pt x="788" y="2467"/>
                </a:lnTo>
                <a:lnTo>
                  <a:pt x="774" y="2461"/>
                </a:lnTo>
                <a:lnTo>
                  <a:pt x="762" y="2456"/>
                </a:lnTo>
                <a:lnTo>
                  <a:pt x="749" y="2453"/>
                </a:lnTo>
                <a:lnTo>
                  <a:pt x="735" y="2451"/>
                </a:lnTo>
                <a:lnTo>
                  <a:pt x="722" y="2451"/>
                </a:lnTo>
                <a:lnTo>
                  <a:pt x="709" y="2452"/>
                </a:lnTo>
                <a:lnTo>
                  <a:pt x="695" y="2454"/>
                </a:lnTo>
                <a:lnTo>
                  <a:pt x="682" y="2457"/>
                </a:lnTo>
                <a:lnTo>
                  <a:pt x="670" y="2462"/>
                </a:lnTo>
                <a:lnTo>
                  <a:pt x="657" y="2468"/>
                </a:lnTo>
                <a:lnTo>
                  <a:pt x="645" y="2475"/>
                </a:lnTo>
                <a:lnTo>
                  <a:pt x="634" y="2483"/>
                </a:lnTo>
                <a:lnTo>
                  <a:pt x="623" y="2494"/>
                </a:lnTo>
                <a:lnTo>
                  <a:pt x="623" y="2494"/>
                </a:lnTo>
                <a:lnTo>
                  <a:pt x="614" y="2504"/>
                </a:lnTo>
                <a:lnTo>
                  <a:pt x="606" y="2515"/>
                </a:lnTo>
                <a:lnTo>
                  <a:pt x="599" y="2528"/>
                </a:lnTo>
                <a:lnTo>
                  <a:pt x="593" y="2540"/>
                </a:lnTo>
                <a:lnTo>
                  <a:pt x="588" y="2553"/>
                </a:lnTo>
                <a:lnTo>
                  <a:pt x="585" y="2566"/>
                </a:lnTo>
                <a:lnTo>
                  <a:pt x="583" y="2579"/>
                </a:lnTo>
                <a:lnTo>
                  <a:pt x="583" y="2592"/>
                </a:lnTo>
                <a:lnTo>
                  <a:pt x="584" y="2606"/>
                </a:lnTo>
                <a:lnTo>
                  <a:pt x="586" y="2619"/>
                </a:lnTo>
                <a:lnTo>
                  <a:pt x="589" y="2633"/>
                </a:lnTo>
                <a:lnTo>
                  <a:pt x="595" y="2645"/>
                </a:lnTo>
                <a:lnTo>
                  <a:pt x="600" y="2657"/>
                </a:lnTo>
                <a:lnTo>
                  <a:pt x="607" y="2670"/>
                </a:lnTo>
                <a:lnTo>
                  <a:pt x="616" y="2681"/>
                </a:lnTo>
                <a:lnTo>
                  <a:pt x="625" y="2691"/>
                </a:lnTo>
                <a:lnTo>
                  <a:pt x="2495" y="4523"/>
                </a:lnTo>
                <a:lnTo>
                  <a:pt x="2497" y="4520"/>
                </a:lnTo>
                <a:lnTo>
                  <a:pt x="2497" y="4520"/>
                </a:lnTo>
                <a:lnTo>
                  <a:pt x="2519" y="4537"/>
                </a:lnTo>
                <a:lnTo>
                  <a:pt x="2541" y="4551"/>
                </a:lnTo>
                <a:lnTo>
                  <a:pt x="2563" y="4566"/>
                </a:lnTo>
                <a:lnTo>
                  <a:pt x="2586" y="4578"/>
                </a:lnTo>
                <a:lnTo>
                  <a:pt x="2608" y="4589"/>
                </a:lnTo>
                <a:lnTo>
                  <a:pt x="2632" y="4600"/>
                </a:lnTo>
                <a:lnTo>
                  <a:pt x="2656" y="4609"/>
                </a:lnTo>
                <a:lnTo>
                  <a:pt x="2680" y="4617"/>
                </a:lnTo>
                <a:lnTo>
                  <a:pt x="2705" y="4624"/>
                </a:lnTo>
                <a:lnTo>
                  <a:pt x="2730" y="4630"/>
                </a:lnTo>
                <a:lnTo>
                  <a:pt x="2754" y="4635"/>
                </a:lnTo>
                <a:lnTo>
                  <a:pt x="2779" y="4638"/>
                </a:lnTo>
                <a:lnTo>
                  <a:pt x="2804" y="4641"/>
                </a:lnTo>
                <a:lnTo>
                  <a:pt x="2829" y="4642"/>
                </a:lnTo>
                <a:lnTo>
                  <a:pt x="2855" y="4642"/>
                </a:lnTo>
                <a:lnTo>
                  <a:pt x="2879" y="4641"/>
                </a:lnTo>
                <a:lnTo>
                  <a:pt x="2905" y="4639"/>
                </a:lnTo>
                <a:lnTo>
                  <a:pt x="2930" y="4636"/>
                </a:lnTo>
                <a:lnTo>
                  <a:pt x="2954" y="4632"/>
                </a:lnTo>
                <a:lnTo>
                  <a:pt x="2980" y="4627"/>
                </a:lnTo>
                <a:lnTo>
                  <a:pt x="3004" y="4619"/>
                </a:lnTo>
                <a:lnTo>
                  <a:pt x="3028" y="4612"/>
                </a:lnTo>
                <a:lnTo>
                  <a:pt x="3052" y="4603"/>
                </a:lnTo>
                <a:lnTo>
                  <a:pt x="3076" y="4594"/>
                </a:lnTo>
                <a:lnTo>
                  <a:pt x="3099" y="4582"/>
                </a:lnTo>
                <a:lnTo>
                  <a:pt x="3122" y="4570"/>
                </a:lnTo>
                <a:lnTo>
                  <a:pt x="3144" y="4557"/>
                </a:lnTo>
                <a:lnTo>
                  <a:pt x="3166" y="4542"/>
                </a:lnTo>
                <a:lnTo>
                  <a:pt x="3188" y="4527"/>
                </a:lnTo>
                <a:lnTo>
                  <a:pt x="3208" y="4510"/>
                </a:lnTo>
                <a:lnTo>
                  <a:pt x="3229" y="4492"/>
                </a:lnTo>
                <a:lnTo>
                  <a:pt x="3247" y="4473"/>
                </a:lnTo>
                <a:lnTo>
                  <a:pt x="3247" y="4473"/>
                </a:lnTo>
                <a:lnTo>
                  <a:pt x="3264" y="4456"/>
                </a:lnTo>
                <a:lnTo>
                  <a:pt x="3280" y="4438"/>
                </a:lnTo>
                <a:lnTo>
                  <a:pt x="3294" y="4420"/>
                </a:lnTo>
                <a:lnTo>
                  <a:pt x="3308" y="4400"/>
                </a:lnTo>
                <a:lnTo>
                  <a:pt x="3321" y="4381"/>
                </a:lnTo>
                <a:lnTo>
                  <a:pt x="3332" y="4361"/>
                </a:lnTo>
                <a:lnTo>
                  <a:pt x="3344" y="4341"/>
                </a:lnTo>
                <a:lnTo>
                  <a:pt x="3354" y="4321"/>
                </a:lnTo>
                <a:lnTo>
                  <a:pt x="3363" y="4300"/>
                </a:lnTo>
                <a:lnTo>
                  <a:pt x="3371" y="4278"/>
                </a:lnTo>
                <a:lnTo>
                  <a:pt x="3379" y="4258"/>
                </a:lnTo>
                <a:lnTo>
                  <a:pt x="3386" y="4236"/>
                </a:lnTo>
                <a:lnTo>
                  <a:pt x="3392" y="4215"/>
                </a:lnTo>
                <a:lnTo>
                  <a:pt x="3396" y="4192"/>
                </a:lnTo>
                <a:lnTo>
                  <a:pt x="3400" y="4170"/>
                </a:lnTo>
                <a:lnTo>
                  <a:pt x="3403" y="4148"/>
                </a:lnTo>
                <a:lnTo>
                  <a:pt x="3403" y="4148"/>
                </a:lnTo>
                <a:lnTo>
                  <a:pt x="3422" y="4154"/>
                </a:lnTo>
                <a:lnTo>
                  <a:pt x="3440" y="4158"/>
                </a:lnTo>
                <a:lnTo>
                  <a:pt x="3459" y="4162"/>
                </a:lnTo>
                <a:lnTo>
                  <a:pt x="3477" y="4166"/>
                </a:lnTo>
                <a:lnTo>
                  <a:pt x="3497" y="4168"/>
                </a:lnTo>
                <a:lnTo>
                  <a:pt x="3515" y="4170"/>
                </a:lnTo>
                <a:lnTo>
                  <a:pt x="3534" y="4172"/>
                </a:lnTo>
                <a:lnTo>
                  <a:pt x="3553" y="4173"/>
                </a:lnTo>
                <a:lnTo>
                  <a:pt x="3572" y="4173"/>
                </a:lnTo>
                <a:lnTo>
                  <a:pt x="3591" y="4173"/>
                </a:lnTo>
                <a:lnTo>
                  <a:pt x="3610" y="4172"/>
                </a:lnTo>
                <a:lnTo>
                  <a:pt x="3629" y="4170"/>
                </a:lnTo>
                <a:lnTo>
                  <a:pt x="3648" y="4168"/>
                </a:lnTo>
                <a:lnTo>
                  <a:pt x="3666" y="4165"/>
                </a:lnTo>
                <a:lnTo>
                  <a:pt x="3685" y="4162"/>
                </a:lnTo>
                <a:lnTo>
                  <a:pt x="3704" y="4158"/>
                </a:lnTo>
                <a:lnTo>
                  <a:pt x="3723" y="4153"/>
                </a:lnTo>
                <a:lnTo>
                  <a:pt x="3740" y="4148"/>
                </a:lnTo>
                <a:lnTo>
                  <a:pt x="3758" y="4141"/>
                </a:lnTo>
                <a:lnTo>
                  <a:pt x="3777" y="4134"/>
                </a:lnTo>
                <a:lnTo>
                  <a:pt x="3794" y="4127"/>
                </a:lnTo>
                <a:lnTo>
                  <a:pt x="3812" y="4119"/>
                </a:lnTo>
                <a:lnTo>
                  <a:pt x="3829" y="4111"/>
                </a:lnTo>
                <a:lnTo>
                  <a:pt x="3847" y="4101"/>
                </a:lnTo>
                <a:lnTo>
                  <a:pt x="3863" y="4092"/>
                </a:lnTo>
                <a:lnTo>
                  <a:pt x="3880" y="4081"/>
                </a:lnTo>
                <a:lnTo>
                  <a:pt x="3896" y="4069"/>
                </a:lnTo>
                <a:lnTo>
                  <a:pt x="3911" y="4058"/>
                </a:lnTo>
                <a:lnTo>
                  <a:pt x="3928" y="4046"/>
                </a:lnTo>
                <a:lnTo>
                  <a:pt x="3942" y="4032"/>
                </a:lnTo>
                <a:lnTo>
                  <a:pt x="3958" y="4019"/>
                </a:lnTo>
                <a:lnTo>
                  <a:pt x="3972" y="4004"/>
                </a:lnTo>
                <a:lnTo>
                  <a:pt x="3972" y="4004"/>
                </a:lnTo>
                <a:lnTo>
                  <a:pt x="3991" y="3985"/>
                </a:lnTo>
                <a:lnTo>
                  <a:pt x="4008" y="3964"/>
                </a:lnTo>
                <a:lnTo>
                  <a:pt x="4024" y="3943"/>
                </a:lnTo>
                <a:lnTo>
                  <a:pt x="4039" y="3921"/>
                </a:lnTo>
                <a:lnTo>
                  <a:pt x="4053" y="3899"/>
                </a:lnTo>
                <a:lnTo>
                  <a:pt x="4066" y="3877"/>
                </a:lnTo>
                <a:lnTo>
                  <a:pt x="4078" y="3854"/>
                </a:lnTo>
                <a:lnTo>
                  <a:pt x="4088" y="3830"/>
                </a:lnTo>
                <a:lnTo>
                  <a:pt x="4097" y="3807"/>
                </a:lnTo>
                <a:lnTo>
                  <a:pt x="4106" y="3782"/>
                </a:lnTo>
                <a:lnTo>
                  <a:pt x="4113" y="3757"/>
                </a:lnTo>
                <a:lnTo>
                  <a:pt x="4119" y="3733"/>
                </a:lnTo>
                <a:lnTo>
                  <a:pt x="4124" y="3708"/>
                </a:lnTo>
                <a:lnTo>
                  <a:pt x="4127" y="3683"/>
                </a:lnTo>
                <a:lnTo>
                  <a:pt x="4130" y="3658"/>
                </a:lnTo>
                <a:lnTo>
                  <a:pt x="4131" y="3633"/>
                </a:lnTo>
                <a:lnTo>
                  <a:pt x="4131" y="3633"/>
                </a:lnTo>
                <a:lnTo>
                  <a:pt x="4165" y="3638"/>
                </a:lnTo>
                <a:lnTo>
                  <a:pt x="4198" y="3641"/>
                </a:lnTo>
                <a:lnTo>
                  <a:pt x="4232" y="3641"/>
                </a:lnTo>
                <a:lnTo>
                  <a:pt x="4265" y="3640"/>
                </a:lnTo>
                <a:lnTo>
                  <a:pt x="4299" y="3637"/>
                </a:lnTo>
                <a:lnTo>
                  <a:pt x="4331" y="3633"/>
                </a:lnTo>
                <a:lnTo>
                  <a:pt x="4364" y="3625"/>
                </a:lnTo>
                <a:lnTo>
                  <a:pt x="4397" y="3616"/>
                </a:lnTo>
                <a:lnTo>
                  <a:pt x="4429" y="3605"/>
                </a:lnTo>
                <a:lnTo>
                  <a:pt x="4461" y="3592"/>
                </a:lnTo>
                <a:lnTo>
                  <a:pt x="4491" y="3577"/>
                </a:lnTo>
                <a:lnTo>
                  <a:pt x="4521" y="3561"/>
                </a:lnTo>
                <a:lnTo>
                  <a:pt x="4550" y="3541"/>
                </a:lnTo>
                <a:lnTo>
                  <a:pt x="4578" y="3520"/>
                </a:lnTo>
                <a:lnTo>
                  <a:pt x="4606" y="3498"/>
                </a:lnTo>
                <a:lnTo>
                  <a:pt x="4631" y="3473"/>
                </a:lnTo>
                <a:lnTo>
                  <a:pt x="4631" y="3473"/>
                </a:lnTo>
                <a:lnTo>
                  <a:pt x="4645" y="3458"/>
                </a:lnTo>
                <a:lnTo>
                  <a:pt x="4659" y="3442"/>
                </a:lnTo>
                <a:lnTo>
                  <a:pt x="4671" y="3427"/>
                </a:lnTo>
                <a:lnTo>
                  <a:pt x="4684" y="3410"/>
                </a:lnTo>
                <a:lnTo>
                  <a:pt x="4695" y="3394"/>
                </a:lnTo>
                <a:lnTo>
                  <a:pt x="4706" y="3377"/>
                </a:lnTo>
                <a:lnTo>
                  <a:pt x="4717" y="3360"/>
                </a:lnTo>
                <a:lnTo>
                  <a:pt x="4726" y="3342"/>
                </a:lnTo>
                <a:lnTo>
                  <a:pt x="4735" y="3324"/>
                </a:lnTo>
                <a:lnTo>
                  <a:pt x="4743" y="3305"/>
                </a:lnTo>
                <a:lnTo>
                  <a:pt x="4752" y="3288"/>
                </a:lnTo>
                <a:lnTo>
                  <a:pt x="4759" y="3268"/>
                </a:lnTo>
                <a:lnTo>
                  <a:pt x="4765" y="3250"/>
                </a:lnTo>
                <a:lnTo>
                  <a:pt x="4771" y="3231"/>
                </a:lnTo>
                <a:lnTo>
                  <a:pt x="4776" y="3211"/>
                </a:lnTo>
                <a:lnTo>
                  <a:pt x="4780" y="3192"/>
                </a:lnTo>
                <a:lnTo>
                  <a:pt x="4784" y="3172"/>
                </a:lnTo>
                <a:lnTo>
                  <a:pt x="4787" y="3153"/>
                </a:lnTo>
                <a:lnTo>
                  <a:pt x="4791" y="3133"/>
                </a:lnTo>
                <a:lnTo>
                  <a:pt x="4793" y="3114"/>
                </a:lnTo>
                <a:lnTo>
                  <a:pt x="4794" y="3094"/>
                </a:lnTo>
                <a:lnTo>
                  <a:pt x="4794" y="3074"/>
                </a:lnTo>
                <a:lnTo>
                  <a:pt x="4795" y="3055"/>
                </a:lnTo>
                <a:lnTo>
                  <a:pt x="4794" y="3036"/>
                </a:lnTo>
                <a:lnTo>
                  <a:pt x="4793" y="3017"/>
                </a:lnTo>
                <a:lnTo>
                  <a:pt x="4791" y="2997"/>
                </a:lnTo>
                <a:lnTo>
                  <a:pt x="4787" y="2979"/>
                </a:lnTo>
                <a:lnTo>
                  <a:pt x="4784" y="2960"/>
                </a:lnTo>
                <a:lnTo>
                  <a:pt x="4780" y="2942"/>
                </a:lnTo>
                <a:lnTo>
                  <a:pt x="4776" y="2923"/>
                </a:lnTo>
                <a:lnTo>
                  <a:pt x="4771" y="2904"/>
                </a:lnTo>
                <a:lnTo>
                  <a:pt x="4765" y="2887"/>
                </a:lnTo>
                <a:lnTo>
                  <a:pt x="5575" y="2076"/>
                </a:lnTo>
                <a:lnTo>
                  <a:pt x="5573" y="2074"/>
                </a:lnTo>
                <a:close/>
                <a:moveTo>
                  <a:pt x="4050" y="2125"/>
                </a:moveTo>
                <a:lnTo>
                  <a:pt x="3730" y="1821"/>
                </a:lnTo>
                <a:lnTo>
                  <a:pt x="3730" y="1821"/>
                </a:lnTo>
                <a:lnTo>
                  <a:pt x="3715" y="1809"/>
                </a:lnTo>
                <a:lnTo>
                  <a:pt x="3701" y="1798"/>
                </a:lnTo>
                <a:lnTo>
                  <a:pt x="3687" y="1791"/>
                </a:lnTo>
                <a:lnTo>
                  <a:pt x="3673" y="1785"/>
                </a:lnTo>
                <a:lnTo>
                  <a:pt x="3661" y="1781"/>
                </a:lnTo>
                <a:lnTo>
                  <a:pt x="3650" y="1778"/>
                </a:lnTo>
                <a:lnTo>
                  <a:pt x="3631" y="1775"/>
                </a:lnTo>
                <a:lnTo>
                  <a:pt x="3631" y="1775"/>
                </a:lnTo>
                <a:lnTo>
                  <a:pt x="3624" y="1774"/>
                </a:lnTo>
                <a:lnTo>
                  <a:pt x="3616" y="1775"/>
                </a:lnTo>
                <a:lnTo>
                  <a:pt x="3616" y="1775"/>
                </a:lnTo>
                <a:lnTo>
                  <a:pt x="3603" y="1778"/>
                </a:lnTo>
                <a:lnTo>
                  <a:pt x="3592" y="1782"/>
                </a:lnTo>
                <a:lnTo>
                  <a:pt x="3582" y="1786"/>
                </a:lnTo>
                <a:lnTo>
                  <a:pt x="3572" y="1792"/>
                </a:lnTo>
                <a:lnTo>
                  <a:pt x="3561" y="1798"/>
                </a:lnTo>
                <a:lnTo>
                  <a:pt x="3552" y="1806"/>
                </a:lnTo>
                <a:lnTo>
                  <a:pt x="3544" y="1813"/>
                </a:lnTo>
                <a:lnTo>
                  <a:pt x="3536" y="1821"/>
                </a:lnTo>
                <a:lnTo>
                  <a:pt x="3536" y="1821"/>
                </a:lnTo>
                <a:lnTo>
                  <a:pt x="3523" y="1837"/>
                </a:lnTo>
                <a:lnTo>
                  <a:pt x="3523" y="1837"/>
                </a:lnTo>
                <a:lnTo>
                  <a:pt x="3502" y="1870"/>
                </a:lnTo>
                <a:lnTo>
                  <a:pt x="3479" y="1902"/>
                </a:lnTo>
                <a:lnTo>
                  <a:pt x="3455" y="1935"/>
                </a:lnTo>
                <a:lnTo>
                  <a:pt x="3430" y="1967"/>
                </a:lnTo>
                <a:lnTo>
                  <a:pt x="3404" y="1999"/>
                </a:lnTo>
                <a:lnTo>
                  <a:pt x="3376" y="2030"/>
                </a:lnTo>
                <a:lnTo>
                  <a:pt x="3350" y="2061"/>
                </a:lnTo>
                <a:lnTo>
                  <a:pt x="3321" y="2091"/>
                </a:lnTo>
                <a:lnTo>
                  <a:pt x="3292" y="2121"/>
                </a:lnTo>
                <a:lnTo>
                  <a:pt x="3264" y="2150"/>
                </a:lnTo>
                <a:lnTo>
                  <a:pt x="3234" y="2178"/>
                </a:lnTo>
                <a:lnTo>
                  <a:pt x="3203" y="2205"/>
                </a:lnTo>
                <a:lnTo>
                  <a:pt x="3173" y="2232"/>
                </a:lnTo>
                <a:lnTo>
                  <a:pt x="3142" y="2258"/>
                </a:lnTo>
                <a:lnTo>
                  <a:pt x="3113" y="2282"/>
                </a:lnTo>
                <a:lnTo>
                  <a:pt x="3082" y="2305"/>
                </a:lnTo>
                <a:lnTo>
                  <a:pt x="3082" y="2305"/>
                </a:lnTo>
                <a:lnTo>
                  <a:pt x="3051" y="2328"/>
                </a:lnTo>
                <a:lnTo>
                  <a:pt x="3020" y="2350"/>
                </a:lnTo>
                <a:lnTo>
                  <a:pt x="2988" y="2371"/>
                </a:lnTo>
                <a:lnTo>
                  <a:pt x="2956" y="2392"/>
                </a:lnTo>
                <a:lnTo>
                  <a:pt x="2925" y="2411"/>
                </a:lnTo>
                <a:lnTo>
                  <a:pt x="2892" y="2431"/>
                </a:lnTo>
                <a:lnTo>
                  <a:pt x="2859" y="2449"/>
                </a:lnTo>
                <a:lnTo>
                  <a:pt x="2826" y="2467"/>
                </a:lnTo>
                <a:lnTo>
                  <a:pt x="2793" y="2483"/>
                </a:lnTo>
                <a:lnTo>
                  <a:pt x="2760" y="2499"/>
                </a:lnTo>
                <a:lnTo>
                  <a:pt x="2726" y="2514"/>
                </a:lnTo>
                <a:lnTo>
                  <a:pt x="2693" y="2529"/>
                </a:lnTo>
                <a:lnTo>
                  <a:pt x="2659" y="2543"/>
                </a:lnTo>
                <a:lnTo>
                  <a:pt x="2625" y="2556"/>
                </a:lnTo>
                <a:lnTo>
                  <a:pt x="2590" y="2569"/>
                </a:lnTo>
                <a:lnTo>
                  <a:pt x="2556" y="2580"/>
                </a:lnTo>
                <a:lnTo>
                  <a:pt x="2378" y="2627"/>
                </a:lnTo>
                <a:lnTo>
                  <a:pt x="2378" y="2627"/>
                </a:lnTo>
                <a:lnTo>
                  <a:pt x="2363" y="2631"/>
                </a:lnTo>
                <a:lnTo>
                  <a:pt x="2363" y="2631"/>
                </a:lnTo>
                <a:lnTo>
                  <a:pt x="2343" y="2634"/>
                </a:lnTo>
                <a:lnTo>
                  <a:pt x="2324" y="2635"/>
                </a:lnTo>
                <a:lnTo>
                  <a:pt x="2304" y="2635"/>
                </a:lnTo>
                <a:lnTo>
                  <a:pt x="2286" y="2634"/>
                </a:lnTo>
                <a:lnTo>
                  <a:pt x="2266" y="2632"/>
                </a:lnTo>
                <a:lnTo>
                  <a:pt x="2248" y="2627"/>
                </a:lnTo>
                <a:lnTo>
                  <a:pt x="2229" y="2622"/>
                </a:lnTo>
                <a:lnTo>
                  <a:pt x="2212" y="2616"/>
                </a:lnTo>
                <a:lnTo>
                  <a:pt x="2195" y="2608"/>
                </a:lnTo>
                <a:lnTo>
                  <a:pt x="2177" y="2600"/>
                </a:lnTo>
                <a:lnTo>
                  <a:pt x="2162" y="2589"/>
                </a:lnTo>
                <a:lnTo>
                  <a:pt x="2145" y="2578"/>
                </a:lnTo>
                <a:lnTo>
                  <a:pt x="2131" y="2567"/>
                </a:lnTo>
                <a:lnTo>
                  <a:pt x="2116" y="2553"/>
                </a:lnTo>
                <a:lnTo>
                  <a:pt x="2103" y="2539"/>
                </a:lnTo>
                <a:lnTo>
                  <a:pt x="2091" y="2523"/>
                </a:lnTo>
                <a:lnTo>
                  <a:pt x="2091" y="2523"/>
                </a:lnTo>
                <a:lnTo>
                  <a:pt x="2083" y="2512"/>
                </a:lnTo>
                <a:lnTo>
                  <a:pt x="2075" y="2500"/>
                </a:lnTo>
                <a:lnTo>
                  <a:pt x="2068" y="2488"/>
                </a:lnTo>
                <a:lnTo>
                  <a:pt x="2062" y="2476"/>
                </a:lnTo>
                <a:lnTo>
                  <a:pt x="2056" y="2463"/>
                </a:lnTo>
                <a:lnTo>
                  <a:pt x="2052" y="2450"/>
                </a:lnTo>
                <a:lnTo>
                  <a:pt x="2047" y="2438"/>
                </a:lnTo>
                <a:lnTo>
                  <a:pt x="2044" y="2425"/>
                </a:lnTo>
                <a:lnTo>
                  <a:pt x="2040" y="2411"/>
                </a:lnTo>
                <a:lnTo>
                  <a:pt x="2038" y="2399"/>
                </a:lnTo>
                <a:lnTo>
                  <a:pt x="2036" y="2385"/>
                </a:lnTo>
                <a:lnTo>
                  <a:pt x="2035" y="2372"/>
                </a:lnTo>
                <a:lnTo>
                  <a:pt x="2035" y="2359"/>
                </a:lnTo>
                <a:lnTo>
                  <a:pt x="2035" y="2345"/>
                </a:lnTo>
                <a:lnTo>
                  <a:pt x="2036" y="2332"/>
                </a:lnTo>
                <a:lnTo>
                  <a:pt x="2037" y="2318"/>
                </a:lnTo>
                <a:lnTo>
                  <a:pt x="2039" y="2306"/>
                </a:lnTo>
                <a:lnTo>
                  <a:pt x="2043" y="2293"/>
                </a:lnTo>
                <a:lnTo>
                  <a:pt x="2046" y="2280"/>
                </a:lnTo>
                <a:lnTo>
                  <a:pt x="2050" y="2267"/>
                </a:lnTo>
                <a:lnTo>
                  <a:pt x="2054" y="2255"/>
                </a:lnTo>
                <a:lnTo>
                  <a:pt x="2059" y="2242"/>
                </a:lnTo>
                <a:lnTo>
                  <a:pt x="2065" y="2230"/>
                </a:lnTo>
                <a:lnTo>
                  <a:pt x="2071" y="2219"/>
                </a:lnTo>
                <a:lnTo>
                  <a:pt x="2077" y="2207"/>
                </a:lnTo>
                <a:lnTo>
                  <a:pt x="2086" y="2196"/>
                </a:lnTo>
                <a:lnTo>
                  <a:pt x="2093" y="2185"/>
                </a:lnTo>
                <a:lnTo>
                  <a:pt x="2102" y="2174"/>
                </a:lnTo>
                <a:lnTo>
                  <a:pt x="2111" y="2164"/>
                </a:lnTo>
                <a:lnTo>
                  <a:pt x="2121" y="2154"/>
                </a:lnTo>
                <a:lnTo>
                  <a:pt x="2131" y="2144"/>
                </a:lnTo>
                <a:lnTo>
                  <a:pt x="2142" y="2135"/>
                </a:lnTo>
                <a:lnTo>
                  <a:pt x="2142" y="2135"/>
                </a:lnTo>
                <a:lnTo>
                  <a:pt x="2185" y="2114"/>
                </a:lnTo>
                <a:lnTo>
                  <a:pt x="2228" y="2093"/>
                </a:lnTo>
                <a:lnTo>
                  <a:pt x="2270" y="2070"/>
                </a:lnTo>
                <a:lnTo>
                  <a:pt x="2313" y="2045"/>
                </a:lnTo>
                <a:lnTo>
                  <a:pt x="2355" y="2021"/>
                </a:lnTo>
                <a:lnTo>
                  <a:pt x="2396" y="1994"/>
                </a:lnTo>
                <a:lnTo>
                  <a:pt x="2436" y="1966"/>
                </a:lnTo>
                <a:lnTo>
                  <a:pt x="2476" y="1936"/>
                </a:lnTo>
                <a:lnTo>
                  <a:pt x="2476" y="1936"/>
                </a:lnTo>
                <a:lnTo>
                  <a:pt x="2501" y="1918"/>
                </a:lnTo>
                <a:lnTo>
                  <a:pt x="2525" y="1898"/>
                </a:lnTo>
                <a:lnTo>
                  <a:pt x="2574" y="1857"/>
                </a:lnTo>
                <a:lnTo>
                  <a:pt x="2622" y="1814"/>
                </a:lnTo>
                <a:lnTo>
                  <a:pt x="2668" y="1768"/>
                </a:lnTo>
                <a:lnTo>
                  <a:pt x="2713" y="1721"/>
                </a:lnTo>
                <a:lnTo>
                  <a:pt x="2757" y="1673"/>
                </a:lnTo>
                <a:lnTo>
                  <a:pt x="2798" y="1623"/>
                </a:lnTo>
                <a:lnTo>
                  <a:pt x="2838" y="1573"/>
                </a:lnTo>
                <a:lnTo>
                  <a:pt x="2876" y="1522"/>
                </a:lnTo>
                <a:lnTo>
                  <a:pt x="2911" y="1471"/>
                </a:lnTo>
                <a:lnTo>
                  <a:pt x="2944" y="1419"/>
                </a:lnTo>
                <a:lnTo>
                  <a:pt x="2974" y="1369"/>
                </a:lnTo>
                <a:lnTo>
                  <a:pt x="3001" y="1318"/>
                </a:lnTo>
                <a:lnTo>
                  <a:pt x="3013" y="1294"/>
                </a:lnTo>
                <a:lnTo>
                  <a:pt x="3024" y="1269"/>
                </a:lnTo>
                <a:lnTo>
                  <a:pt x="3036" y="1244"/>
                </a:lnTo>
                <a:lnTo>
                  <a:pt x="3045" y="1220"/>
                </a:lnTo>
                <a:lnTo>
                  <a:pt x="3054" y="1197"/>
                </a:lnTo>
                <a:lnTo>
                  <a:pt x="3062" y="1173"/>
                </a:lnTo>
                <a:lnTo>
                  <a:pt x="3062" y="1173"/>
                </a:lnTo>
                <a:lnTo>
                  <a:pt x="3071" y="1143"/>
                </a:lnTo>
                <a:lnTo>
                  <a:pt x="3080" y="1110"/>
                </a:lnTo>
                <a:lnTo>
                  <a:pt x="3089" y="1073"/>
                </a:lnTo>
                <a:lnTo>
                  <a:pt x="3098" y="1033"/>
                </a:lnTo>
                <a:lnTo>
                  <a:pt x="3107" y="989"/>
                </a:lnTo>
                <a:lnTo>
                  <a:pt x="3115" y="941"/>
                </a:lnTo>
                <a:lnTo>
                  <a:pt x="3123" y="892"/>
                </a:lnTo>
                <a:lnTo>
                  <a:pt x="3129" y="839"/>
                </a:lnTo>
                <a:lnTo>
                  <a:pt x="3129" y="839"/>
                </a:lnTo>
                <a:lnTo>
                  <a:pt x="3209" y="760"/>
                </a:lnTo>
                <a:lnTo>
                  <a:pt x="3381" y="590"/>
                </a:lnTo>
                <a:lnTo>
                  <a:pt x="3626" y="345"/>
                </a:lnTo>
                <a:lnTo>
                  <a:pt x="5269" y="1986"/>
                </a:lnTo>
                <a:lnTo>
                  <a:pt x="4596" y="2658"/>
                </a:lnTo>
                <a:lnTo>
                  <a:pt x="4050" y="2125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grpSp>
        <p:nvGrpSpPr>
          <p:cNvPr id="30" name="Group 30">
            <a:extLst>
              <a:ext uri="{FF2B5EF4-FFF2-40B4-BE49-F238E27FC236}">
                <a16:creationId xmlns:a16="http://schemas.microsoft.com/office/drawing/2014/main" id="{18EE9076-D74E-D27B-1D03-5E883F8F3A5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002740" y="5234894"/>
            <a:ext cx="265939" cy="400575"/>
            <a:chOff x="4187" y="53"/>
            <a:chExt cx="399" cy="601"/>
          </a:xfrm>
          <a:solidFill>
            <a:schemeClr val="accent2"/>
          </a:solidFill>
        </p:grpSpPr>
        <p:sp>
          <p:nvSpPr>
            <p:cNvPr id="31" name="Freeform 31">
              <a:extLst>
                <a:ext uri="{FF2B5EF4-FFF2-40B4-BE49-F238E27FC236}">
                  <a16:creationId xmlns:a16="http://schemas.microsoft.com/office/drawing/2014/main" id="{CF2F55B8-00BF-04D8-DDAB-4EF7533767C6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9" y="109"/>
              <a:ext cx="35" cy="35"/>
            </a:xfrm>
            <a:custGeom>
              <a:avLst/>
              <a:gdLst>
                <a:gd name="T0" fmla="*/ 0 w 353"/>
                <a:gd name="T1" fmla="*/ 160 h 320"/>
                <a:gd name="T2" fmla="*/ 3 w 353"/>
                <a:gd name="T3" fmla="*/ 192 h 320"/>
                <a:gd name="T4" fmla="*/ 13 w 353"/>
                <a:gd name="T5" fmla="*/ 221 h 320"/>
                <a:gd name="T6" fmla="*/ 30 w 353"/>
                <a:gd name="T7" fmla="*/ 248 h 320"/>
                <a:gd name="T8" fmla="*/ 51 w 353"/>
                <a:gd name="T9" fmla="*/ 272 h 320"/>
                <a:gd name="T10" fmla="*/ 78 w 353"/>
                <a:gd name="T11" fmla="*/ 291 h 320"/>
                <a:gd name="T12" fmla="*/ 108 w 353"/>
                <a:gd name="T13" fmla="*/ 307 h 320"/>
                <a:gd name="T14" fmla="*/ 141 w 353"/>
                <a:gd name="T15" fmla="*/ 316 h 320"/>
                <a:gd name="T16" fmla="*/ 176 w 353"/>
                <a:gd name="T17" fmla="*/ 320 h 320"/>
                <a:gd name="T18" fmla="*/ 194 w 353"/>
                <a:gd name="T19" fmla="*/ 319 h 320"/>
                <a:gd name="T20" fmla="*/ 229 w 353"/>
                <a:gd name="T21" fmla="*/ 312 h 320"/>
                <a:gd name="T22" fmla="*/ 261 w 353"/>
                <a:gd name="T23" fmla="*/ 300 h 320"/>
                <a:gd name="T24" fmla="*/ 289 w 353"/>
                <a:gd name="T25" fmla="*/ 282 h 320"/>
                <a:gd name="T26" fmla="*/ 313 w 353"/>
                <a:gd name="T27" fmla="*/ 261 h 320"/>
                <a:gd name="T28" fmla="*/ 332 w 353"/>
                <a:gd name="T29" fmla="*/ 235 h 320"/>
                <a:gd name="T30" fmla="*/ 345 w 353"/>
                <a:gd name="T31" fmla="*/ 207 h 320"/>
                <a:gd name="T32" fmla="*/ 352 w 353"/>
                <a:gd name="T33" fmla="*/ 176 h 320"/>
                <a:gd name="T34" fmla="*/ 353 w 353"/>
                <a:gd name="T35" fmla="*/ 160 h 320"/>
                <a:gd name="T36" fmla="*/ 350 w 353"/>
                <a:gd name="T37" fmla="*/ 127 h 320"/>
                <a:gd name="T38" fmla="*/ 339 w 353"/>
                <a:gd name="T39" fmla="*/ 98 h 320"/>
                <a:gd name="T40" fmla="*/ 323 w 353"/>
                <a:gd name="T41" fmla="*/ 71 h 320"/>
                <a:gd name="T42" fmla="*/ 301 w 353"/>
                <a:gd name="T43" fmla="*/ 47 h 320"/>
                <a:gd name="T44" fmla="*/ 275 w 353"/>
                <a:gd name="T45" fmla="*/ 28 h 320"/>
                <a:gd name="T46" fmla="*/ 245 w 353"/>
                <a:gd name="T47" fmla="*/ 13 h 320"/>
                <a:gd name="T48" fmla="*/ 212 w 353"/>
                <a:gd name="T49" fmla="*/ 4 h 320"/>
                <a:gd name="T50" fmla="*/ 176 w 353"/>
                <a:gd name="T51" fmla="*/ 0 h 320"/>
                <a:gd name="T52" fmla="*/ 159 w 353"/>
                <a:gd name="T53" fmla="*/ 1 h 320"/>
                <a:gd name="T54" fmla="*/ 124 w 353"/>
                <a:gd name="T55" fmla="*/ 8 h 320"/>
                <a:gd name="T56" fmla="*/ 92 w 353"/>
                <a:gd name="T57" fmla="*/ 20 h 320"/>
                <a:gd name="T58" fmla="*/ 64 w 353"/>
                <a:gd name="T59" fmla="*/ 37 h 320"/>
                <a:gd name="T60" fmla="*/ 40 w 353"/>
                <a:gd name="T61" fmla="*/ 58 h 320"/>
                <a:gd name="T62" fmla="*/ 21 w 353"/>
                <a:gd name="T63" fmla="*/ 84 h 320"/>
                <a:gd name="T64" fmla="*/ 8 w 353"/>
                <a:gd name="T65" fmla="*/ 112 h 320"/>
                <a:gd name="T66" fmla="*/ 1 w 353"/>
                <a:gd name="T67" fmla="*/ 143 h 320"/>
                <a:gd name="T68" fmla="*/ 0 w 353"/>
                <a:gd name="T69" fmla="*/ 16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53" h="320">
                  <a:moveTo>
                    <a:pt x="0" y="160"/>
                  </a:moveTo>
                  <a:lnTo>
                    <a:pt x="0" y="160"/>
                  </a:lnTo>
                  <a:lnTo>
                    <a:pt x="1" y="176"/>
                  </a:lnTo>
                  <a:lnTo>
                    <a:pt x="3" y="192"/>
                  </a:lnTo>
                  <a:lnTo>
                    <a:pt x="8" y="207"/>
                  </a:lnTo>
                  <a:lnTo>
                    <a:pt x="13" y="221"/>
                  </a:lnTo>
                  <a:lnTo>
                    <a:pt x="21" y="235"/>
                  </a:lnTo>
                  <a:lnTo>
                    <a:pt x="30" y="248"/>
                  </a:lnTo>
                  <a:lnTo>
                    <a:pt x="40" y="261"/>
                  </a:lnTo>
                  <a:lnTo>
                    <a:pt x="51" y="272"/>
                  </a:lnTo>
                  <a:lnTo>
                    <a:pt x="64" y="282"/>
                  </a:lnTo>
                  <a:lnTo>
                    <a:pt x="78" y="291"/>
                  </a:lnTo>
                  <a:lnTo>
                    <a:pt x="92" y="300"/>
                  </a:lnTo>
                  <a:lnTo>
                    <a:pt x="108" y="307"/>
                  </a:lnTo>
                  <a:lnTo>
                    <a:pt x="124" y="312"/>
                  </a:lnTo>
                  <a:lnTo>
                    <a:pt x="141" y="316"/>
                  </a:lnTo>
                  <a:lnTo>
                    <a:pt x="159" y="319"/>
                  </a:lnTo>
                  <a:lnTo>
                    <a:pt x="176" y="320"/>
                  </a:lnTo>
                  <a:lnTo>
                    <a:pt x="176" y="320"/>
                  </a:lnTo>
                  <a:lnTo>
                    <a:pt x="194" y="319"/>
                  </a:lnTo>
                  <a:lnTo>
                    <a:pt x="212" y="316"/>
                  </a:lnTo>
                  <a:lnTo>
                    <a:pt x="229" y="312"/>
                  </a:lnTo>
                  <a:lnTo>
                    <a:pt x="245" y="307"/>
                  </a:lnTo>
                  <a:lnTo>
                    <a:pt x="261" y="300"/>
                  </a:lnTo>
                  <a:lnTo>
                    <a:pt x="275" y="291"/>
                  </a:lnTo>
                  <a:lnTo>
                    <a:pt x="289" y="282"/>
                  </a:lnTo>
                  <a:lnTo>
                    <a:pt x="301" y="272"/>
                  </a:lnTo>
                  <a:lnTo>
                    <a:pt x="313" y="261"/>
                  </a:lnTo>
                  <a:lnTo>
                    <a:pt x="323" y="248"/>
                  </a:lnTo>
                  <a:lnTo>
                    <a:pt x="332" y="235"/>
                  </a:lnTo>
                  <a:lnTo>
                    <a:pt x="339" y="221"/>
                  </a:lnTo>
                  <a:lnTo>
                    <a:pt x="345" y="207"/>
                  </a:lnTo>
                  <a:lnTo>
                    <a:pt x="350" y="192"/>
                  </a:lnTo>
                  <a:lnTo>
                    <a:pt x="352" y="176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52" y="143"/>
                  </a:lnTo>
                  <a:lnTo>
                    <a:pt x="350" y="127"/>
                  </a:lnTo>
                  <a:lnTo>
                    <a:pt x="345" y="112"/>
                  </a:lnTo>
                  <a:lnTo>
                    <a:pt x="339" y="98"/>
                  </a:lnTo>
                  <a:lnTo>
                    <a:pt x="332" y="84"/>
                  </a:lnTo>
                  <a:lnTo>
                    <a:pt x="323" y="71"/>
                  </a:lnTo>
                  <a:lnTo>
                    <a:pt x="313" y="58"/>
                  </a:lnTo>
                  <a:lnTo>
                    <a:pt x="301" y="47"/>
                  </a:lnTo>
                  <a:lnTo>
                    <a:pt x="289" y="37"/>
                  </a:lnTo>
                  <a:lnTo>
                    <a:pt x="275" y="28"/>
                  </a:lnTo>
                  <a:lnTo>
                    <a:pt x="261" y="20"/>
                  </a:lnTo>
                  <a:lnTo>
                    <a:pt x="245" y="13"/>
                  </a:lnTo>
                  <a:lnTo>
                    <a:pt x="229" y="8"/>
                  </a:lnTo>
                  <a:lnTo>
                    <a:pt x="212" y="4"/>
                  </a:lnTo>
                  <a:lnTo>
                    <a:pt x="194" y="1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59" y="1"/>
                  </a:lnTo>
                  <a:lnTo>
                    <a:pt x="141" y="4"/>
                  </a:lnTo>
                  <a:lnTo>
                    <a:pt x="124" y="8"/>
                  </a:lnTo>
                  <a:lnTo>
                    <a:pt x="108" y="13"/>
                  </a:lnTo>
                  <a:lnTo>
                    <a:pt x="92" y="20"/>
                  </a:lnTo>
                  <a:lnTo>
                    <a:pt x="78" y="28"/>
                  </a:lnTo>
                  <a:lnTo>
                    <a:pt x="64" y="37"/>
                  </a:lnTo>
                  <a:lnTo>
                    <a:pt x="51" y="47"/>
                  </a:lnTo>
                  <a:lnTo>
                    <a:pt x="40" y="58"/>
                  </a:lnTo>
                  <a:lnTo>
                    <a:pt x="30" y="71"/>
                  </a:lnTo>
                  <a:lnTo>
                    <a:pt x="21" y="84"/>
                  </a:lnTo>
                  <a:lnTo>
                    <a:pt x="13" y="98"/>
                  </a:lnTo>
                  <a:lnTo>
                    <a:pt x="8" y="112"/>
                  </a:lnTo>
                  <a:lnTo>
                    <a:pt x="3" y="127"/>
                  </a:lnTo>
                  <a:lnTo>
                    <a:pt x="1" y="143"/>
                  </a:lnTo>
                  <a:lnTo>
                    <a:pt x="0" y="160"/>
                  </a:lnTo>
                  <a:lnTo>
                    <a:pt x="0" y="160"/>
                  </a:lnTo>
                  <a:close/>
                </a:path>
              </a:pathLst>
            </a:custGeom>
            <a:grpFill/>
            <a:ln>
              <a:solidFill>
                <a:schemeClr val="accent2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32">
              <a:extLst>
                <a:ext uri="{FF2B5EF4-FFF2-40B4-BE49-F238E27FC236}">
                  <a16:creationId xmlns:a16="http://schemas.microsoft.com/office/drawing/2014/main" id="{7198CBC2-4D42-8C56-AD92-B4D1EC8350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7" y="53"/>
              <a:ext cx="399" cy="601"/>
            </a:xfrm>
            <a:custGeom>
              <a:avLst/>
              <a:gdLst>
                <a:gd name="T0" fmla="*/ 3922 w 3990"/>
                <a:gd name="T1" fmla="*/ 4643 h 5409"/>
                <a:gd name="T2" fmla="*/ 3987 w 3990"/>
                <a:gd name="T3" fmla="*/ 4557 h 5409"/>
                <a:gd name="T4" fmla="*/ 3983 w 3990"/>
                <a:gd name="T5" fmla="*/ 1079 h 5409"/>
                <a:gd name="T6" fmla="*/ 3908 w 3990"/>
                <a:gd name="T7" fmla="*/ 953 h 5409"/>
                <a:gd name="T8" fmla="*/ 3768 w 3990"/>
                <a:gd name="T9" fmla="*/ 885 h 5409"/>
                <a:gd name="T10" fmla="*/ 3228 w 3990"/>
                <a:gd name="T11" fmla="*/ 746 h 5409"/>
                <a:gd name="T12" fmla="*/ 3197 w 3990"/>
                <a:gd name="T13" fmla="*/ 635 h 5409"/>
                <a:gd name="T14" fmla="*/ 3122 w 3990"/>
                <a:gd name="T15" fmla="*/ 545 h 5409"/>
                <a:gd name="T16" fmla="*/ 3016 w 3990"/>
                <a:gd name="T17" fmla="*/ 487 h 5409"/>
                <a:gd name="T18" fmla="*/ 2691 w 3990"/>
                <a:gd name="T19" fmla="*/ 468 h 5409"/>
                <a:gd name="T20" fmla="*/ 2618 w 3990"/>
                <a:gd name="T21" fmla="*/ 305 h 5409"/>
                <a:gd name="T22" fmla="*/ 2477 w 3990"/>
                <a:gd name="T23" fmla="*/ 150 h 5409"/>
                <a:gd name="T24" fmla="*/ 2288 w 3990"/>
                <a:gd name="T25" fmla="*/ 45 h 5409"/>
                <a:gd name="T26" fmla="*/ 2068 w 3990"/>
                <a:gd name="T27" fmla="*/ 0 h 5409"/>
                <a:gd name="T28" fmla="*/ 1807 w 3990"/>
                <a:gd name="T29" fmla="*/ 14 h 5409"/>
                <a:gd name="T30" fmla="*/ 1599 w 3990"/>
                <a:gd name="T31" fmla="*/ 90 h 5409"/>
                <a:gd name="T32" fmla="*/ 1433 w 3990"/>
                <a:gd name="T33" fmla="*/ 222 h 5409"/>
                <a:gd name="T34" fmla="*/ 1322 w 3990"/>
                <a:gd name="T35" fmla="*/ 395 h 5409"/>
                <a:gd name="T36" fmla="*/ 1064 w 3990"/>
                <a:gd name="T37" fmla="*/ 472 h 5409"/>
                <a:gd name="T38" fmla="*/ 933 w 3990"/>
                <a:gd name="T39" fmla="*/ 516 h 5409"/>
                <a:gd name="T40" fmla="*/ 832 w 3990"/>
                <a:gd name="T41" fmla="*/ 599 h 5409"/>
                <a:gd name="T42" fmla="*/ 772 w 3990"/>
                <a:gd name="T43" fmla="*/ 711 h 5409"/>
                <a:gd name="T44" fmla="*/ 279 w 3990"/>
                <a:gd name="T45" fmla="*/ 879 h 5409"/>
                <a:gd name="T46" fmla="*/ 170 w 3990"/>
                <a:gd name="T47" fmla="*/ 899 h 5409"/>
                <a:gd name="T48" fmla="*/ 22 w 3990"/>
                <a:gd name="T49" fmla="*/ 1032 h 5409"/>
                <a:gd name="T50" fmla="*/ 0 w 3990"/>
                <a:gd name="T51" fmla="*/ 1131 h 5409"/>
                <a:gd name="T52" fmla="*/ 13 w 3990"/>
                <a:gd name="T53" fmla="*/ 5232 h 5409"/>
                <a:gd name="T54" fmla="*/ 123 w 3990"/>
                <a:gd name="T55" fmla="*/ 5367 h 5409"/>
                <a:gd name="T56" fmla="*/ 250 w 3990"/>
                <a:gd name="T57" fmla="*/ 5408 h 5409"/>
                <a:gd name="T58" fmla="*/ 3897 w 3990"/>
                <a:gd name="T59" fmla="*/ 5399 h 5409"/>
                <a:gd name="T60" fmla="*/ 3978 w 3990"/>
                <a:gd name="T61" fmla="*/ 5326 h 5409"/>
                <a:gd name="T62" fmla="*/ 3982 w 3990"/>
                <a:gd name="T63" fmla="*/ 5231 h 5409"/>
                <a:gd name="T64" fmla="*/ 3910 w 3990"/>
                <a:gd name="T65" fmla="*/ 5152 h 5409"/>
                <a:gd name="T66" fmla="*/ 761 w 3990"/>
                <a:gd name="T67" fmla="*/ 1153 h 5409"/>
                <a:gd name="T68" fmla="*/ 777 w 3990"/>
                <a:gd name="T69" fmla="*/ 1542 h 5409"/>
                <a:gd name="T70" fmla="*/ 840 w 3990"/>
                <a:gd name="T71" fmla="*/ 1646 h 5409"/>
                <a:gd name="T72" fmla="*/ 940 w 3990"/>
                <a:gd name="T73" fmla="*/ 1720 h 5409"/>
                <a:gd name="T74" fmla="*/ 1068 w 3990"/>
                <a:gd name="T75" fmla="*/ 1757 h 5409"/>
                <a:gd name="T76" fmla="*/ 3136 w 3990"/>
                <a:gd name="T77" fmla="*/ 1747 h 5409"/>
                <a:gd name="T78" fmla="*/ 3217 w 3990"/>
                <a:gd name="T79" fmla="*/ 1674 h 5409"/>
                <a:gd name="T80" fmla="*/ 3221 w 3990"/>
                <a:gd name="T81" fmla="*/ 1581 h 5409"/>
                <a:gd name="T82" fmla="*/ 3149 w 3990"/>
                <a:gd name="T83" fmla="*/ 1501 h 5409"/>
                <a:gd name="T84" fmla="*/ 1094 w 3990"/>
                <a:gd name="T85" fmla="*/ 1484 h 5409"/>
                <a:gd name="T86" fmla="*/ 1064 w 3990"/>
                <a:gd name="T87" fmla="*/ 791 h 5409"/>
                <a:gd name="T88" fmla="*/ 1108 w 3990"/>
                <a:gd name="T89" fmla="*/ 743 h 5409"/>
                <a:gd name="T90" fmla="*/ 1504 w 3990"/>
                <a:gd name="T91" fmla="*/ 725 h 5409"/>
                <a:gd name="T92" fmla="*/ 1577 w 3990"/>
                <a:gd name="T93" fmla="*/ 646 h 5409"/>
                <a:gd name="T94" fmla="*/ 1591 w 3990"/>
                <a:gd name="T95" fmla="*/ 539 h 5409"/>
                <a:gd name="T96" fmla="*/ 1647 w 3990"/>
                <a:gd name="T97" fmla="*/ 419 h 5409"/>
                <a:gd name="T98" fmla="*/ 1747 w 3990"/>
                <a:gd name="T99" fmla="*/ 330 h 5409"/>
                <a:gd name="T100" fmla="*/ 1878 w 3990"/>
                <a:gd name="T101" fmla="*/ 280 h 5409"/>
                <a:gd name="T102" fmla="*/ 2074 w 3990"/>
                <a:gd name="T103" fmla="*/ 275 h 5409"/>
                <a:gd name="T104" fmla="*/ 2209 w 3990"/>
                <a:gd name="T105" fmla="*/ 315 h 5409"/>
                <a:gd name="T106" fmla="*/ 2319 w 3990"/>
                <a:gd name="T107" fmla="*/ 398 h 5409"/>
                <a:gd name="T108" fmla="*/ 2389 w 3990"/>
                <a:gd name="T109" fmla="*/ 511 h 5409"/>
                <a:gd name="T110" fmla="*/ 2407 w 3990"/>
                <a:gd name="T111" fmla="*/ 619 h 5409"/>
                <a:gd name="T112" fmla="*/ 2461 w 3990"/>
                <a:gd name="T113" fmla="*/ 711 h 5409"/>
                <a:gd name="T114" fmla="*/ 2903 w 3990"/>
                <a:gd name="T115" fmla="*/ 742 h 5409"/>
                <a:gd name="T116" fmla="*/ 2926 w 3990"/>
                <a:gd name="T117" fmla="*/ 757 h 5409"/>
                <a:gd name="T118" fmla="*/ 2952 w 3990"/>
                <a:gd name="T119" fmla="*/ 1047 h 5409"/>
                <a:gd name="T120" fmla="*/ 3083 w 3990"/>
                <a:gd name="T121" fmla="*/ 1144 h 5409"/>
                <a:gd name="T122" fmla="*/ 3690 w 3990"/>
                <a:gd name="T123" fmla="*/ 4557 h 5409"/>
                <a:gd name="T124" fmla="*/ 3753 w 3990"/>
                <a:gd name="T125" fmla="*/ 4643 h 5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90" h="5409">
                  <a:moveTo>
                    <a:pt x="3838" y="4667"/>
                  </a:moveTo>
                  <a:lnTo>
                    <a:pt x="3838" y="4667"/>
                  </a:lnTo>
                  <a:lnTo>
                    <a:pt x="3853" y="4666"/>
                  </a:lnTo>
                  <a:lnTo>
                    <a:pt x="3869" y="4664"/>
                  </a:lnTo>
                  <a:lnTo>
                    <a:pt x="3883" y="4660"/>
                  </a:lnTo>
                  <a:lnTo>
                    <a:pt x="3897" y="4656"/>
                  </a:lnTo>
                  <a:lnTo>
                    <a:pt x="3910" y="4650"/>
                  </a:lnTo>
                  <a:lnTo>
                    <a:pt x="3922" y="4643"/>
                  </a:lnTo>
                  <a:lnTo>
                    <a:pt x="3934" y="4635"/>
                  </a:lnTo>
                  <a:lnTo>
                    <a:pt x="3946" y="4627"/>
                  </a:lnTo>
                  <a:lnTo>
                    <a:pt x="3954" y="4617"/>
                  </a:lnTo>
                  <a:lnTo>
                    <a:pt x="3963" y="4606"/>
                  </a:lnTo>
                  <a:lnTo>
                    <a:pt x="3971" y="4594"/>
                  </a:lnTo>
                  <a:lnTo>
                    <a:pt x="3978" y="4582"/>
                  </a:lnTo>
                  <a:lnTo>
                    <a:pt x="3982" y="4570"/>
                  </a:lnTo>
                  <a:lnTo>
                    <a:pt x="3987" y="4557"/>
                  </a:lnTo>
                  <a:lnTo>
                    <a:pt x="3989" y="4543"/>
                  </a:lnTo>
                  <a:lnTo>
                    <a:pt x="3990" y="4529"/>
                  </a:lnTo>
                  <a:lnTo>
                    <a:pt x="3990" y="1131"/>
                  </a:lnTo>
                  <a:lnTo>
                    <a:pt x="3990" y="1131"/>
                  </a:lnTo>
                  <a:lnTo>
                    <a:pt x="3989" y="1118"/>
                  </a:lnTo>
                  <a:lnTo>
                    <a:pt x="3988" y="1104"/>
                  </a:lnTo>
                  <a:lnTo>
                    <a:pt x="3987" y="1092"/>
                  </a:lnTo>
                  <a:lnTo>
                    <a:pt x="3983" y="1079"/>
                  </a:lnTo>
                  <a:lnTo>
                    <a:pt x="3981" y="1067"/>
                  </a:lnTo>
                  <a:lnTo>
                    <a:pt x="3977" y="1055"/>
                  </a:lnTo>
                  <a:lnTo>
                    <a:pt x="3972" y="1044"/>
                  </a:lnTo>
                  <a:lnTo>
                    <a:pt x="3968" y="1032"/>
                  </a:lnTo>
                  <a:lnTo>
                    <a:pt x="3956" y="1011"/>
                  </a:lnTo>
                  <a:lnTo>
                    <a:pt x="3942" y="990"/>
                  </a:lnTo>
                  <a:lnTo>
                    <a:pt x="3926" y="971"/>
                  </a:lnTo>
                  <a:lnTo>
                    <a:pt x="3908" y="953"/>
                  </a:lnTo>
                  <a:lnTo>
                    <a:pt x="3888" y="937"/>
                  </a:lnTo>
                  <a:lnTo>
                    <a:pt x="3867" y="922"/>
                  </a:lnTo>
                  <a:lnTo>
                    <a:pt x="3843" y="910"/>
                  </a:lnTo>
                  <a:lnTo>
                    <a:pt x="3820" y="899"/>
                  </a:lnTo>
                  <a:lnTo>
                    <a:pt x="3807" y="895"/>
                  </a:lnTo>
                  <a:lnTo>
                    <a:pt x="3794" y="891"/>
                  </a:lnTo>
                  <a:lnTo>
                    <a:pt x="3781" y="887"/>
                  </a:lnTo>
                  <a:lnTo>
                    <a:pt x="3768" y="885"/>
                  </a:lnTo>
                  <a:lnTo>
                    <a:pt x="3753" y="882"/>
                  </a:lnTo>
                  <a:lnTo>
                    <a:pt x="3740" y="881"/>
                  </a:lnTo>
                  <a:lnTo>
                    <a:pt x="3726" y="880"/>
                  </a:lnTo>
                  <a:lnTo>
                    <a:pt x="3711" y="879"/>
                  </a:lnTo>
                  <a:lnTo>
                    <a:pt x="3229" y="879"/>
                  </a:lnTo>
                  <a:lnTo>
                    <a:pt x="3229" y="761"/>
                  </a:lnTo>
                  <a:lnTo>
                    <a:pt x="3229" y="761"/>
                  </a:lnTo>
                  <a:lnTo>
                    <a:pt x="3228" y="746"/>
                  </a:lnTo>
                  <a:lnTo>
                    <a:pt x="3227" y="731"/>
                  </a:lnTo>
                  <a:lnTo>
                    <a:pt x="3224" y="717"/>
                  </a:lnTo>
                  <a:lnTo>
                    <a:pt x="3222" y="702"/>
                  </a:lnTo>
                  <a:lnTo>
                    <a:pt x="3218" y="688"/>
                  </a:lnTo>
                  <a:lnTo>
                    <a:pt x="3213" y="674"/>
                  </a:lnTo>
                  <a:lnTo>
                    <a:pt x="3209" y="661"/>
                  </a:lnTo>
                  <a:lnTo>
                    <a:pt x="3203" y="648"/>
                  </a:lnTo>
                  <a:lnTo>
                    <a:pt x="3197" y="635"/>
                  </a:lnTo>
                  <a:lnTo>
                    <a:pt x="3189" y="622"/>
                  </a:lnTo>
                  <a:lnTo>
                    <a:pt x="3181" y="610"/>
                  </a:lnTo>
                  <a:lnTo>
                    <a:pt x="3173" y="598"/>
                  </a:lnTo>
                  <a:lnTo>
                    <a:pt x="3163" y="587"/>
                  </a:lnTo>
                  <a:lnTo>
                    <a:pt x="3154" y="575"/>
                  </a:lnTo>
                  <a:lnTo>
                    <a:pt x="3144" y="565"/>
                  </a:lnTo>
                  <a:lnTo>
                    <a:pt x="3133" y="555"/>
                  </a:lnTo>
                  <a:lnTo>
                    <a:pt x="3122" y="545"/>
                  </a:lnTo>
                  <a:lnTo>
                    <a:pt x="3110" y="536"/>
                  </a:lnTo>
                  <a:lnTo>
                    <a:pt x="3098" y="527"/>
                  </a:lnTo>
                  <a:lnTo>
                    <a:pt x="3086" y="519"/>
                  </a:lnTo>
                  <a:lnTo>
                    <a:pt x="3072" y="511"/>
                  </a:lnTo>
                  <a:lnTo>
                    <a:pt x="3059" y="504"/>
                  </a:lnTo>
                  <a:lnTo>
                    <a:pt x="3044" y="498"/>
                  </a:lnTo>
                  <a:lnTo>
                    <a:pt x="3030" y="492"/>
                  </a:lnTo>
                  <a:lnTo>
                    <a:pt x="3016" y="487"/>
                  </a:lnTo>
                  <a:lnTo>
                    <a:pt x="3000" y="482"/>
                  </a:lnTo>
                  <a:lnTo>
                    <a:pt x="2984" y="478"/>
                  </a:lnTo>
                  <a:lnTo>
                    <a:pt x="2969" y="474"/>
                  </a:lnTo>
                  <a:lnTo>
                    <a:pt x="2953" y="471"/>
                  </a:lnTo>
                  <a:lnTo>
                    <a:pt x="2937" y="470"/>
                  </a:lnTo>
                  <a:lnTo>
                    <a:pt x="2920" y="468"/>
                  </a:lnTo>
                  <a:lnTo>
                    <a:pt x="2903" y="468"/>
                  </a:lnTo>
                  <a:lnTo>
                    <a:pt x="2691" y="468"/>
                  </a:lnTo>
                  <a:lnTo>
                    <a:pt x="2691" y="468"/>
                  </a:lnTo>
                  <a:lnTo>
                    <a:pt x="2683" y="443"/>
                  </a:lnTo>
                  <a:lnTo>
                    <a:pt x="2676" y="419"/>
                  </a:lnTo>
                  <a:lnTo>
                    <a:pt x="2666" y="395"/>
                  </a:lnTo>
                  <a:lnTo>
                    <a:pt x="2656" y="372"/>
                  </a:lnTo>
                  <a:lnTo>
                    <a:pt x="2643" y="349"/>
                  </a:lnTo>
                  <a:lnTo>
                    <a:pt x="2631" y="327"/>
                  </a:lnTo>
                  <a:lnTo>
                    <a:pt x="2618" y="305"/>
                  </a:lnTo>
                  <a:lnTo>
                    <a:pt x="2603" y="284"/>
                  </a:lnTo>
                  <a:lnTo>
                    <a:pt x="2588" y="263"/>
                  </a:lnTo>
                  <a:lnTo>
                    <a:pt x="2571" y="243"/>
                  </a:lnTo>
                  <a:lnTo>
                    <a:pt x="2553" y="223"/>
                  </a:lnTo>
                  <a:lnTo>
                    <a:pt x="2536" y="204"/>
                  </a:lnTo>
                  <a:lnTo>
                    <a:pt x="2517" y="186"/>
                  </a:lnTo>
                  <a:lnTo>
                    <a:pt x="2497" y="168"/>
                  </a:lnTo>
                  <a:lnTo>
                    <a:pt x="2477" y="150"/>
                  </a:lnTo>
                  <a:lnTo>
                    <a:pt x="2456" y="134"/>
                  </a:lnTo>
                  <a:lnTo>
                    <a:pt x="2433" y="119"/>
                  </a:lnTo>
                  <a:lnTo>
                    <a:pt x="2410" y="104"/>
                  </a:lnTo>
                  <a:lnTo>
                    <a:pt x="2387" y="91"/>
                  </a:lnTo>
                  <a:lnTo>
                    <a:pt x="2363" y="78"/>
                  </a:lnTo>
                  <a:lnTo>
                    <a:pt x="2339" y="66"/>
                  </a:lnTo>
                  <a:lnTo>
                    <a:pt x="2313" y="55"/>
                  </a:lnTo>
                  <a:lnTo>
                    <a:pt x="2288" y="45"/>
                  </a:lnTo>
                  <a:lnTo>
                    <a:pt x="2262" y="36"/>
                  </a:lnTo>
                  <a:lnTo>
                    <a:pt x="2236" y="27"/>
                  </a:lnTo>
                  <a:lnTo>
                    <a:pt x="2208" y="20"/>
                  </a:lnTo>
                  <a:lnTo>
                    <a:pt x="2181" y="14"/>
                  </a:lnTo>
                  <a:lnTo>
                    <a:pt x="2153" y="9"/>
                  </a:lnTo>
                  <a:lnTo>
                    <a:pt x="2124" y="5"/>
                  </a:lnTo>
                  <a:lnTo>
                    <a:pt x="2097" y="2"/>
                  </a:lnTo>
                  <a:lnTo>
                    <a:pt x="2068" y="0"/>
                  </a:lnTo>
                  <a:lnTo>
                    <a:pt x="2038" y="0"/>
                  </a:lnTo>
                  <a:lnTo>
                    <a:pt x="1952" y="0"/>
                  </a:lnTo>
                  <a:lnTo>
                    <a:pt x="1952" y="0"/>
                  </a:lnTo>
                  <a:lnTo>
                    <a:pt x="1922" y="0"/>
                  </a:lnTo>
                  <a:lnTo>
                    <a:pt x="1892" y="2"/>
                  </a:lnTo>
                  <a:lnTo>
                    <a:pt x="1863" y="5"/>
                  </a:lnTo>
                  <a:lnTo>
                    <a:pt x="1836" y="9"/>
                  </a:lnTo>
                  <a:lnTo>
                    <a:pt x="1807" y="14"/>
                  </a:lnTo>
                  <a:lnTo>
                    <a:pt x="1779" y="20"/>
                  </a:lnTo>
                  <a:lnTo>
                    <a:pt x="1752" y="27"/>
                  </a:lnTo>
                  <a:lnTo>
                    <a:pt x="1726" y="35"/>
                  </a:lnTo>
                  <a:lnTo>
                    <a:pt x="1699" y="44"/>
                  </a:lnTo>
                  <a:lnTo>
                    <a:pt x="1673" y="54"/>
                  </a:lnTo>
                  <a:lnTo>
                    <a:pt x="1648" y="65"/>
                  </a:lnTo>
                  <a:lnTo>
                    <a:pt x="1623" y="77"/>
                  </a:lnTo>
                  <a:lnTo>
                    <a:pt x="1599" y="90"/>
                  </a:lnTo>
                  <a:lnTo>
                    <a:pt x="1576" y="103"/>
                  </a:lnTo>
                  <a:lnTo>
                    <a:pt x="1553" y="118"/>
                  </a:lnTo>
                  <a:lnTo>
                    <a:pt x="1531" y="133"/>
                  </a:lnTo>
                  <a:lnTo>
                    <a:pt x="1510" y="149"/>
                  </a:lnTo>
                  <a:lnTo>
                    <a:pt x="1490" y="167"/>
                  </a:lnTo>
                  <a:lnTo>
                    <a:pt x="1470" y="184"/>
                  </a:lnTo>
                  <a:lnTo>
                    <a:pt x="1451" y="203"/>
                  </a:lnTo>
                  <a:lnTo>
                    <a:pt x="1433" y="222"/>
                  </a:lnTo>
                  <a:lnTo>
                    <a:pt x="1417" y="241"/>
                  </a:lnTo>
                  <a:lnTo>
                    <a:pt x="1400" y="261"/>
                  </a:lnTo>
                  <a:lnTo>
                    <a:pt x="1384" y="282"/>
                  </a:lnTo>
                  <a:lnTo>
                    <a:pt x="1370" y="304"/>
                  </a:lnTo>
                  <a:lnTo>
                    <a:pt x="1357" y="326"/>
                  </a:lnTo>
                  <a:lnTo>
                    <a:pt x="1344" y="348"/>
                  </a:lnTo>
                  <a:lnTo>
                    <a:pt x="1333" y="371"/>
                  </a:lnTo>
                  <a:lnTo>
                    <a:pt x="1322" y="395"/>
                  </a:lnTo>
                  <a:lnTo>
                    <a:pt x="1313" y="419"/>
                  </a:lnTo>
                  <a:lnTo>
                    <a:pt x="1306" y="443"/>
                  </a:lnTo>
                  <a:lnTo>
                    <a:pt x="1298" y="468"/>
                  </a:lnTo>
                  <a:lnTo>
                    <a:pt x="1119" y="468"/>
                  </a:lnTo>
                  <a:lnTo>
                    <a:pt x="1119" y="468"/>
                  </a:lnTo>
                  <a:lnTo>
                    <a:pt x="1101" y="468"/>
                  </a:lnTo>
                  <a:lnTo>
                    <a:pt x="1082" y="470"/>
                  </a:lnTo>
                  <a:lnTo>
                    <a:pt x="1064" y="472"/>
                  </a:lnTo>
                  <a:lnTo>
                    <a:pt x="1047" y="475"/>
                  </a:lnTo>
                  <a:lnTo>
                    <a:pt x="1030" y="479"/>
                  </a:lnTo>
                  <a:lnTo>
                    <a:pt x="1013" y="484"/>
                  </a:lnTo>
                  <a:lnTo>
                    <a:pt x="997" y="489"/>
                  </a:lnTo>
                  <a:lnTo>
                    <a:pt x="980" y="494"/>
                  </a:lnTo>
                  <a:lnTo>
                    <a:pt x="964" y="501"/>
                  </a:lnTo>
                  <a:lnTo>
                    <a:pt x="949" y="508"/>
                  </a:lnTo>
                  <a:lnTo>
                    <a:pt x="933" y="516"/>
                  </a:lnTo>
                  <a:lnTo>
                    <a:pt x="919" y="524"/>
                  </a:lnTo>
                  <a:lnTo>
                    <a:pt x="906" y="533"/>
                  </a:lnTo>
                  <a:lnTo>
                    <a:pt x="892" y="543"/>
                  </a:lnTo>
                  <a:lnTo>
                    <a:pt x="879" y="553"/>
                  </a:lnTo>
                  <a:lnTo>
                    <a:pt x="867" y="563"/>
                  </a:lnTo>
                  <a:lnTo>
                    <a:pt x="854" y="575"/>
                  </a:lnTo>
                  <a:lnTo>
                    <a:pt x="843" y="586"/>
                  </a:lnTo>
                  <a:lnTo>
                    <a:pt x="832" y="599"/>
                  </a:lnTo>
                  <a:lnTo>
                    <a:pt x="822" y="611"/>
                  </a:lnTo>
                  <a:lnTo>
                    <a:pt x="813" y="624"/>
                  </a:lnTo>
                  <a:lnTo>
                    <a:pt x="804" y="638"/>
                  </a:lnTo>
                  <a:lnTo>
                    <a:pt x="797" y="652"/>
                  </a:lnTo>
                  <a:lnTo>
                    <a:pt x="790" y="666"/>
                  </a:lnTo>
                  <a:lnTo>
                    <a:pt x="783" y="680"/>
                  </a:lnTo>
                  <a:lnTo>
                    <a:pt x="778" y="695"/>
                  </a:lnTo>
                  <a:lnTo>
                    <a:pt x="772" y="711"/>
                  </a:lnTo>
                  <a:lnTo>
                    <a:pt x="769" y="726"/>
                  </a:lnTo>
                  <a:lnTo>
                    <a:pt x="766" y="742"/>
                  </a:lnTo>
                  <a:lnTo>
                    <a:pt x="763" y="758"/>
                  </a:lnTo>
                  <a:lnTo>
                    <a:pt x="762" y="774"/>
                  </a:lnTo>
                  <a:lnTo>
                    <a:pt x="761" y="791"/>
                  </a:lnTo>
                  <a:lnTo>
                    <a:pt x="761" y="879"/>
                  </a:lnTo>
                  <a:lnTo>
                    <a:pt x="279" y="879"/>
                  </a:lnTo>
                  <a:lnTo>
                    <a:pt x="279" y="879"/>
                  </a:lnTo>
                  <a:lnTo>
                    <a:pt x="264" y="880"/>
                  </a:lnTo>
                  <a:lnTo>
                    <a:pt x="250" y="881"/>
                  </a:lnTo>
                  <a:lnTo>
                    <a:pt x="237" y="882"/>
                  </a:lnTo>
                  <a:lnTo>
                    <a:pt x="222" y="885"/>
                  </a:lnTo>
                  <a:lnTo>
                    <a:pt x="209" y="887"/>
                  </a:lnTo>
                  <a:lnTo>
                    <a:pt x="196" y="891"/>
                  </a:lnTo>
                  <a:lnTo>
                    <a:pt x="183" y="895"/>
                  </a:lnTo>
                  <a:lnTo>
                    <a:pt x="170" y="899"/>
                  </a:lnTo>
                  <a:lnTo>
                    <a:pt x="147" y="910"/>
                  </a:lnTo>
                  <a:lnTo>
                    <a:pt x="123" y="922"/>
                  </a:lnTo>
                  <a:lnTo>
                    <a:pt x="102" y="937"/>
                  </a:lnTo>
                  <a:lnTo>
                    <a:pt x="82" y="953"/>
                  </a:lnTo>
                  <a:lnTo>
                    <a:pt x="64" y="971"/>
                  </a:lnTo>
                  <a:lnTo>
                    <a:pt x="48" y="990"/>
                  </a:lnTo>
                  <a:lnTo>
                    <a:pt x="34" y="1011"/>
                  </a:lnTo>
                  <a:lnTo>
                    <a:pt x="22" y="1032"/>
                  </a:lnTo>
                  <a:lnTo>
                    <a:pt x="18" y="1044"/>
                  </a:lnTo>
                  <a:lnTo>
                    <a:pt x="13" y="1055"/>
                  </a:lnTo>
                  <a:lnTo>
                    <a:pt x="9" y="1067"/>
                  </a:lnTo>
                  <a:lnTo>
                    <a:pt x="7" y="1079"/>
                  </a:lnTo>
                  <a:lnTo>
                    <a:pt x="3" y="1092"/>
                  </a:lnTo>
                  <a:lnTo>
                    <a:pt x="2" y="1104"/>
                  </a:lnTo>
                  <a:lnTo>
                    <a:pt x="1" y="1118"/>
                  </a:lnTo>
                  <a:lnTo>
                    <a:pt x="0" y="1131"/>
                  </a:lnTo>
                  <a:lnTo>
                    <a:pt x="0" y="5158"/>
                  </a:lnTo>
                  <a:lnTo>
                    <a:pt x="0" y="5158"/>
                  </a:lnTo>
                  <a:lnTo>
                    <a:pt x="1" y="5171"/>
                  </a:lnTo>
                  <a:lnTo>
                    <a:pt x="2" y="5184"/>
                  </a:lnTo>
                  <a:lnTo>
                    <a:pt x="3" y="5196"/>
                  </a:lnTo>
                  <a:lnTo>
                    <a:pt x="7" y="5208"/>
                  </a:lnTo>
                  <a:lnTo>
                    <a:pt x="9" y="5221"/>
                  </a:lnTo>
                  <a:lnTo>
                    <a:pt x="13" y="5232"/>
                  </a:lnTo>
                  <a:lnTo>
                    <a:pt x="18" y="5244"/>
                  </a:lnTo>
                  <a:lnTo>
                    <a:pt x="22" y="5256"/>
                  </a:lnTo>
                  <a:lnTo>
                    <a:pt x="34" y="5278"/>
                  </a:lnTo>
                  <a:lnTo>
                    <a:pt x="48" y="5299"/>
                  </a:lnTo>
                  <a:lnTo>
                    <a:pt x="64" y="5318"/>
                  </a:lnTo>
                  <a:lnTo>
                    <a:pt x="82" y="5336"/>
                  </a:lnTo>
                  <a:lnTo>
                    <a:pt x="102" y="5352"/>
                  </a:lnTo>
                  <a:lnTo>
                    <a:pt x="123" y="5367"/>
                  </a:lnTo>
                  <a:lnTo>
                    <a:pt x="147" y="5379"/>
                  </a:lnTo>
                  <a:lnTo>
                    <a:pt x="170" y="5390"/>
                  </a:lnTo>
                  <a:lnTo>
                    <a:pt x="183" y="5394"/>
                  </a:lnTo>
                  <a:lnTo>
                    <a:pt x="196" y="5398"/>
                  </a:lnTo>
                  <a:lnTo>
                    <a:pt x="209" y="5401"/>
                  </a:lnTo>
                  <a:lnTo>
                    <a:pt x="222" y="5404"/>
                  </a:lnTo>
                  <a:lnTo>
                    <a:pt x="237" y="5406"/>
                  </a:lnTo>
                  <a:lnTo>
                    <a:pt x="250" y="5408"/>
                  </a:lnTo>
                  <a:lnTo>
                    <a:pt x="264" y="5409"/>
                  </a:lnTo>
                  <a:lnTo>
                    <a:pt x="279" y="5409"/>
                  </a:lnTo>
                  <a:lnTo>
                    <a:pt x="3838" y="5409"/>
                  </a:lnTo>
                  <a:lnTo>
                    <a:pt x="3838" y="5409"/>
                  </a:lnTo>
                  <a:lnTo>
                    <a:pt x="3853" y="5409"/>
                  </a:lnTo>
                  <a:lnTo>
                    <a:pt x="3869" y="5407"/>
                  </a:lnTo>
                  <a:lnTo>
                    <a:pt x="3883" y="5403"/>
                  </a:lnTo>
                  <a:lnTo>
                    <a:pt x="3897" y="5399"/>
                  </a:lnTo>
                  <a:lnTo>
                    <a:pt x="3910" y="5393"/>
                  </a:lnTo>
                  <a:lnTo>
                    <a:pt x="3922" y="5386"/>
                  </a:lnTo>
                  <a:lnTo>
                    <a:pt x="3934" y="5378"/>
                  </a:lnTo>
                  <a:lnTo>
                    <a:pt x="3946" y="5369"/>
                  </a:lnTo>
                  <a:lnTo>
                    <a:pt x="3954" y="5360"/>
                  </a:lnTo>
                  <a:lnTo>
                    <a:pt x="3963" y="5349"/>
                  </a:lnTo>
                  <a:lnTo>
                    <a:pt x="3971" y="5338"/>
                  </a:lnTo>
                  <a:lnTo>
                    <a:pt x="3978" y="5326"/>
                  </a:lnTo>
                  <a:lnTo>
                    <a:pt x="3982" y="5314"/>
                  </a:lnTo>
                  <a:lnTo>
                    <a:pt x="3987" y="5300"/>
                  </a:lnTo>
                  <a:lnTo>
                    <a:pt x="3989" y="5287"/>
                  </a:lnTo>
                  <a:lnTo>
                    <a:pt x="3990" y="5273"/>
                  </a:lnTo>
                  <a:lnTo>
                    <a:pt x="3990" y="5273"/>
                  </a:lnTo>
                  <a:lnTo>
                    <a:pt x="3989" y="5259"/>
                  </a:lnTo>
                  <a:lnTo>
                    <a:pt x="3987" y="5245"/>
                  </a:lnTo>
                  <a:lnTo>
                    <a:pt x="3982" y="5231"/>
                  </a:lnTo>
                  <a:lnTo>
                    <a:pt x="3978" y="5219"/>
                  </a:lnTo>
                  <a:lnTo>
                    <a:pt x="3971" y="5207"/>
                  </a:lnTo>
                  <a:lnTo>
                    <a:pt x="3963" y="5196"/>
                  </a:lnTo>
                  <a:lnTo>
                    <a:pt x="3954" y="5185"/>
                  </a:lnTo>
                  <a:lnTo>
                    <a:pt x="3946" y="5176"/>
                  </a:lnTo>
                  <a:lnTo>
                    <a:pt x="3934" y="5167"/>
                  </a:lnTo>
                  <a:lnTo>
                    <a:pt x="3922" y="5159"/>
                  </a:lnTo>
                  <a:lnTo>
                    <a:pt x="3910" y="5152"/>
                  </a:lnTo>
                  <a:lnTo>
                    <a:pt x="3897" y="5146"/>
                  </a:lnTo>
                  <a:lnTo>
                    <a:pt x="3883" y="5142"/>
                  </a:lnTo>
                  <a:lnTo>
                    <a:pt x="3869" y="5138"/>
                  </a:lnTo>
                  <a:lnTo>
                    <a:pt x="3853" y="5136"/>
                  </a:lnTo>
                  <a:lnTo>
                    <a:pt x="3838" y="5136"/>
                  </a:lnTo>
                  <a:lnTo>
                    <a:pt x="303" y="5136"/>
                  </a:lnTo>
                  <a:lnTo>
                    <a:pt x="303" y="1153"/>
                  </a:lnTo>
                  <a:lnTo>
                    <a:pt x="761" y="1153"/>
                  </a:lnTo>
                  <a:lnTo>
                    <a:pt x="761" y="1451"/>
                  </a:lnTo>
                  <a:lnTo>
                    <a:pt x="761" y="1451"/>
                  </a:lnTo>
                  <a:lnTo>
                    <a:pt x="762" y="1466"/>
                  </a:lnTo>
                  <a:lnTo>
                    <a:pt x="763" y="1482"/>
                  </a:lnTo>
                  <a:lnTo>
                    <a:pt x="766" y="1497"/>
                  </a:lnTo>
                  <a:lnTo>
                    <a:pt x="769" y="1512"/>
                  </a:lnTo>
                  <a:lnTo>
                    <a:pt x="772" y="1527"/>
                  </a:lnTo>
                  <a:lnTo>
                    <a:pt x="777" y="1542"/>
                  </a:lnTo>
                  <a:lnTo>
                    <a:pt x="782" y="1556"/>
                  </a:lnTo>
                  <a:lnTo>
                    <a:pt x="788" y="1570"/>
                  </a:lnTo>
                  <a:lnTo>
                    <a:pt x="796" y="1583"/>
                  </a:lnTo>
                  <a:lnTo>
                    <a:pt x="802" y="1597"/>
                  </a:lnTo>
                  <a:lnTo>
                    <a:pt x="811" y="1610"/>
                  </a:lnTo>
                  <a:lnTo>
                    <a:pt x="820" y="1622"/>
                  </a:lnTo>
                  <a:lnTo>
                    <a:pt x="829" y="1634"/>
                  </a:lnTo>
                  <a:lnTo>
                    <a:pt x="840" y="1646"/>
                  </a:lnTo>
                  <a:lnTo>
                    <a:pt x="850" y="1657"/>
                  </a:lnTo>
                  <a:lnTo>
                    <a:pt x="861" y="1667"/>
                  </a:lnTo>
                  <a:lnTo>
                    <a:pt x="873" y="1678"/>
                  </a:lnTo>
                  <a:lnTo>
                    <a:pt x="886" y="1687"/>
                  </a:lnTo>
                  <a:lnTo>
                    <a:pt x="899" y="1696"/>
                  </a:lnTo>
                  <a:lnTo>
                    <a:pt x="912" y="1705"/>
                  </a:lnTo>
                  <a:lnTo>
                    <a:pt x="926" y="1713"/>
                  </a:lnTo>
                  <a:lnTo>
                    <a:pt x="940" y="1720"/>
                  </a:lnTo>
                  <a:lnTo>
                    <a:pt x="954" y="1727"/>
                  </a:lnTo>
                  <a:lnTo>
                    <a:pt x="970" y="1733"/>
                  </a:lnTo>
                  <a:lnTo>
                    <a:pt x="986" y="1739"/>
                  </a:lnTo>
                  <a:lnTo>
                    <a:pt x="1001" y="1744"/>
                  </a:lnTo>
                  <a:lnTo>
                    <a:pt x="1018" y="1748"/>
                  </a:lnTo>
                  <a:lnTo>
                    <a:pt x="1034" y="1752"/>
                  </a:lnTo>
                  <a:lnTo>
                    <a:pt x="1051" y="1755"/>
                  </a:lnTo>
                  <a:lnTo>
                    <a:pt x="1068" y="1757"/>
                  </a:lnTo>
                  <a:lnTo>
                    <a:pt x="1086" y="1758"/>
                  </a:lnTo>
                  <a:lnTo>
                    <a:pt x="1102" y="1759"/>
                  </a:lnTo>
                  <a:lnTo>
                    <a:pt x="3077" y="1759"/>
                  </a:lnTo>
                  <a:lnTo>
                    <a:pt x="3077" y="1759"/>
                  </a:lnTo>
                  <a:lnTo>
                    <a:pt x="3092" y="1758"/>
                  </a:lnTo>
                  <a:lnTo>
                    <a:pt x="3108" y="1756"/>
                  </a:lnTo>
                  <a:lnTo>
                    <a:pt x="3122" y="1752"/>
                  </a:lnTo>
                  <a:lnTo>
                    <a:pt x="3136" y="1747"/>
                  </a:lnTo>
                  <a:lnTo>
                    <a:pt x="3149" y="1741"/>
                  </a:lnTo>
                  <a:lnTo>
                    <a:pt x="3162" y="1734"/>
                  </a:lnTo>
                  <a:lnTo>
                    <a:pt x="3173" y="1726"/>
                  </a:lnTo>
                  <a:lnTo>
                    <a:pt x="3184" y="1718"/>
                  </a:lnTo>
                  <a:lnTo>
                    <a:pt x="3193" y="1708"/>
                  </a:lnTo>
                  <a:lnTo>
                    <a:pt x="3202" y="1697"/>
                  </a:lnTo>
                  <a:lnTo>
                    <a:pt x="3210" y="1686"/>
                  </a:lnTo>
                  <a:lnTo>
                    <a:pt x="3217" y="1674"/>
                  </a:lnTo>
                  <a:lnTo>
                    <a:pt x="3221" y="1662"/>
                  </a:lnTo>
                  <a:lnTo>
                    <a:pt x="3226" y="1649"/>
                  </a:lnTo>
                  <a:lnTo>
                    <a:pt x="3228" y="1635"/>
                  </a:lnTo>
                  <a:lnTo>
                    <a:pt x="3229" y="1621"/>
                  </a:lnTo>
                  <a:lnTo>
                    <a:pt x="3229" y="1621"/>
                  </a:lnTo>
                  <a:lnTo>
                    <a:pt x="3228" y="1607"/>
                  </a:lnTo>
                  <a:lnTo>
                    <a:pt x="3226" y="1594"/>
                  </a:lnTo>
                  <a:lnTo>
                    <a:pt x="3221" y="1581"/>
                  </a:lnTo>
                  <a:lnTo>
                    <a:pt x="3217" y="1568"/>
                  </a:lnTo>
                  <a:lnTo>
                    <a:pt x="3210" y="1556"/>
                  </a:lnTo>
                  <a:lnTo>
                    <a:pt x="3202" y="1545"/>
                  </a:lnTo>
                  <a:lnTo>
                    <a:pt x="3193" y="1534"/>
                  </a:lnTo>
                  <a:lnTo>
                    <a:pt x="3184" y="1525"/>
                  </a:lnTo>
                  <a:lnTo>
                    <a:pt x="3173" y="1516"/>
                  </a:lnTo>
                  <a:lnTo>
                    <a:pt x="3162" y="1508"/>
                  </a:lnTo>
                  <a:lnTo>
                    <a:pt x="3149" y="1501"/>
                  </a:lnTo>
                  <a:lnTo>
                    <a:pt x="3136" y="1496"/>
                  </a:lnTo>
                  <a:lnTo>
                    <a:pt x="3122" y="1491"/>
                  </a:lnTo>
                  <a:lnTo>
                    <a:pt x="3108" y="1488"/>
                  </a:lnTo>
                  <a:lnTo>
                    <a:pt x="3092" y="1486"/>
                  </a:lnTo>
                  <a:lnTo>
                    <a:pt x="3077" y="1485"/>
                  </a:lnTo>
                  <a:lnTo>
                    <a:pt x="1102" y="1485"/>
                  </a:lnTo>
                  <a:lnTo>
                    <a:pt x="1102" y="1485"/>
                  </a:lnTo>
                  <a:lnTo>
                    <a:pt x="1094" y="1484"/>
                  </a:lnTo>
                  <a:lnTo>
                    <a:pt x="1088" y="1482"/>
                  </a:lnTo>
                  <a:lnTo>
                    <a:pt x="1081" y="1479"/>
                  </a:lnTo>
                  <a:lnTo>
                    <a:pt x="1076" y="1475"/>
                  </a:lnTo>
                  <a:lnTo>
                    <a:pt x="1071" y="1470"/>
                  </a:lnTo>
                  <a:lnTo>
                    <a:pt x="1068" y="1464"/>
                  </a:lnTo>
                  <a:lnTo>
                    <a:pt x="1066" y="1457"/>
                  </a:lnTo>
                  <a:lnTo>
                    <a:pt x="1064" y="1451"/>
                  </a:lnTo>
                  <a:lnTo>
                    <a:pt x="1064" y="791"/>
                  </a:lnTo>
                  <a:lnTo>
                    <a:pt x="1064" y="791"/>
                  </a:lnTo>
                  <a:lnTo>
                    <a:pt x="1066" y="781"/>
                  </a:lnTo>
                  <a:lnTo>
                    <a:pt x="1069" y="772"/>
                  </a:lnTo>
                  <a:lnTo>
                    <a:pt x="1074" y="764"/>
                  </a:lnTo>
                  <a:lnTo>
                    <a:pt x="1081" y="756"/>
                  </a:lnTo>
                  <a:lnTo>
                    <a:pt x="1089" y="750"/>
                  </a:lnTo>
                  <a:lnTo>
                    <a:pt x="1098" y="746"/>
                  </a:lnTo>
                  <a:lnTo>
                    <a:pt x="1108" y="743"/>
                  </a:lnTo>
                  <a:lnTo>
                    <a:pt x="1119" y="742"/>
                  </a:lnTo>
                  <a:lnTo>
                    <a:pt x="1432" y="742"/>
                  </a:lnTo>
                  <a:lnTo>
                    <a:pt x="1432" y="742"/>
                  </a:lnTo>
                  <a:lnTo>
                    <a:pt x="1448" y="741"/>
                  </a:lnTo>
                  <a:lnTo>
                    <a:pt x="1463" y="739"/>
                  </a:lnTo>
                  <a:lnTo>
                    <a:pt x="1478" y="736"/>
                  </a:lnTo>
                  <a:lnTo>
                    <a:pt x="1491" y="731"/>
                  </a:lnTo>
                  <a:lnTo>
                    <a:pt x="1504" y="725"/>
                  </a:lnTo>
                  <a:lnTo>
                    <a:pt x="1517" y="718"/>
                  </a:lnTo>
                  <a:lnTo>
                    <a:pt x="1529" y="711"/>
                  </a:lnTo>
                  <a:lnTo>
                    <a:pt x="1540" y="702"/>
                  </a:lnTo>
                  <a:lnTo>
                    <a:pt x="1549" y="692"/>
                  </a:lnTo>
                  <a:lnTo>
                    <a:pt x="1558" y="682"/>
                  </a:lnTo>
                  <a:lnTo>
                    <a:pt x="1566" y="670"/>
                  </a:lnTo>
                  <a:lnTo>
                    <a:pt x="1572" y="658"/>
                  </a:lnTo>
                  <a:lnTo>
                    <a:pt x="1577" y="646"/>
                  </a:lnTo>
                  <a:lnTo>
                    <a:pt x="1581" y="633"/>
                  </a:lnTo>
                  <a:lnTo>
                    <a:pt x="1583" y="619"/>
                  </a:lnTo>
                  <a:lnTo>
                    <a:pt x="1583" y="605"/>
                  </a:lnTo>
                  <a:lnTo>
                    <a:pt x="1583" y="605"/>
                  </a:lnTo>
                  <a:lnTo>
                    <a:pt x="1584" y="588"/>
                  </a:lnTo>
                  <a:lnTo>
                    <a:pt x="1586" y="572"/>
                  </a:lnTo>
                  <a:lnTo>
                    <a:pt x="1588" y="555"/>
                  </a:lnTo>
                  <a:lnTo>
                    <a:pt x="1591" y="539"/>
                  </a:lnTo>
                  <a:lnTo>
                    <a:pt x="1596" y="523"/>
                  </a:lnTo>
                  <a:lnTo>
                    <a:pt x="1600" y="507"/>
                  </a:lnTo>
                  <a:lnTo>
                    <a:pt x="1607" y="492"/>
                  </a:lnTo>
                  <a:lnTo>
                    <a:pt x="1613" y="476"/>
                  </a:lnTo>
                  <a:lnTo>
                    <a:pt x="1620" y="461"/>
                  </a:lnTo>
                  <a:lnTo>
                    <a:pt x="1628" y="447"/>
                  </a:lnTo>
                  <a:lnTo>
                    <a:pt x="1637" y="433"/>
                  </a:lnTo>
                  <a:lnTo>
                    <a:pt x="1647" y="419"/>
                  </a:lnTo>
                  <a:lnTo>
                    <a:pt x="1657" y="406"/>
                  </a:lnTo>
                  <a:lnTo>
                    <a:pt x="1668" y="394"/>
                  </a:lnTo>
                  <a:lnTo>
                    <a:pt x="1680" y="382"/>
                  </a:lnTo>
                  <a:lnTo>
                    <a:pt x="1692" y="370"/>
                  </a:lnTo>
                  <a:lnTo>
                    <a:pt x="1704" y="359"/>
                  </a:lnTo>
                  <a:lnTo>
                    <a:pt x="1718" y="349"/>
                  </a:lnTo>
                  <a:lnTo>
                    <a:pt x="1732" y="339"/>
                  </a:lnTo>
                  <a:lnTo>
                    <a:pt x="1747" y="330"/>
                  </a:lnTo>
                  <a:lnTo>
                    <a:pt x="1761" y="321"/>
                  </a:lnTo>
                  <a:lnTo>
                    <a:pt x="1777" y="313"/>
                  </a:lnTo>
                  <a:lnTo>
                    <a:pt x="1792" y="306"/>
                  </a:lnTo>
                  <a:lnTo>
                    <a:pt x="1809" y="299"/>
                  </a:lnTo>
                  <a:lnTo>
                    <a:pt x="1826" y="293"/>
                  </a:lnTo>
                  <a:lnTo>
                    <a:pt x="1842" y="288"/>
                  </a:lnTo>
                  <a:lnTo>
                    <a:pt x="1860" y="284"/>
                  </a:lnTo>
                  <a:lnTo>
                    <a:pt x="1878" y="280"/>
                  </a:lnTo>
                  <a:lnTo>
                    <a:pt x="1896" y="277"/>
                  </a:lnTo>
                  <a:lnTo>
                    <a:pt x="1914" y="275"/>
                  </a:lnTo>
                  <a:lnTo>
                    <a:pt x="1932" y="274"/>
                  </a:lnTo>
                  <a:lnTo>
                    <a:pt x="1952" y="273"/>
                  </a:lnTo>
                  <a:lnTo>
                    <a:pt x="2038" y="273"/>
                  </a:lnTo>
                  <a:lnTo>
                    <a:pt x="2038" y="273"/>
                  </a:lnTo>
                  <a:lnTo>
                    <a:pt x="2057" y="274"/>
                  </a:lnTo>
                  <a:lnTo>
                    <a:pt x="2074" y="275"/>
                  </a:lnTo>
                  <a:lnTo>
                    <a:pt x="2092" y="277"/>
                  </a:lnTo>
                  <a:lnTo>
                    <a:pt x="2109" y="280"/>
                  </a:lnTo>
                  <a:lnTo>
                    <a:pt x="2127" y="284"/>
                  </a:lnTo>
                  <a:lnTo>
                    <a:pt x="2143" y="289"/>
                  </a:lnTo>
                  <a:lnTo>
                    <a:pt x="2160" y="295"/>
                  </a:lnTo>
                  <a:lnTo>
                    <a:pt x="2177" y="301"/>
                  </a:lnTo>
                  <a:lnTo>
                    <a:pt x="2193" y="308"/>
                  </a:lnTo>
                  <a:lnTo>
                    <a:pt x="2209" y="315"/>
                  </a:lnTo>
                  <a:lnTo>
                    <a:pt x="2224" y="324"/>
                  </a:lnTo>
                  <a:lnTo>
                    <a:pt x="2239" y="332"/>
                  </a:lnTo>
                  <a:lnTo>
                    <a:pt x="2253" y="342"/>
                  </a:lnTo>
                  <a:lnTo>
                    <a:pt x="2268" y="352"/>
                  </a:lnTo>
                  <a:lnTo>
                    <a:pt x="2281" y="363"/>
                  </a:lnTo>
                  <a:lnTo>
                    <a:pt x="2294" y="374"/>
                  </a:lnTo>
                  <a:lnTo>
                    <a:pt x="2307" y="386"/>
                  </a:lnTo>
                  <a:lnTo>
                    <a:pt x="2319" y="398"/>
                  </a:lnTo>
                  <a:lnTo>
                    <a:pt x="2330" y="410"/>
                  </a:lnTo>
                  <a:lnTo>
                    <a:pt x="2340" y="424"/>
                  </a:lnTo>
                  <a:lnTo>
                    <a:pt x="2350" y="437"/>
                  </a:lnTo>
                  <a:lnTo>
                    <a:pt x="2360" y="451"/>
                  </a:lnTo>
                  <a:lnTo>
                    <a:pt x="2368" y="465"/>
                  </a:lnTo>
                  <a:lnTo>
                    <a:pt x="2376" y="481"/>
                  </a:lnTo>
                  <a:lnTo>
                    <a:pt x="2382" y="495"/>
                  </a:lnTo>
                  <a:lnTo>
                    <a:pt x="2389" y="511"/>
                  </a:lnTo>
                  <a:lnTo>
                    <a:pt x="2393" y="526"/>
                  </a:lnTo>
                  <a:lnTo>
                    <a:pt x="2398" y="541"/>
                  </a:lnTo>
                  <a:lnTo>
                    <a:pt x="2401" y="557"/>
                  </a:lnTo>
                  <a:lnTo>
                    <a:pt x="2404" y="573"/>
                  </a:lnTo>
                  <a:lnTo>
                    <a:pt x="2406" y="589"/>
                  </a:lnTo>
                  <a:lnTo>
                    <a:pt x="2407" y="605"/>
                  </a:lnTo>
                  <a:lnTo>
                    <a:pt x="2407" y="605"/>
                  </a:lnTo>
                  <a:lnTo>
                    <a:pt x="2407" y="619"/>
                  </a:lnTo>
                  <a:lnTo>
                    <a:pt x="2409" y="633"/>
                  </a:lnTo>
                  <a:lnTo>
                    <a:pt x="2413" y="646"/>
                  </a:lnTo>
                  <a:lnTo>
                    <a:pt x="2418" y="658"/>
                  </a:lnTo>
                  <a:lnTo>
                    <a:pt x="2424" y="670"/>
                  </a:lnTo>
                  <a:lnTo>
                    <a:pt x="2432" y="682"/>
                  </a:lnTo>
                  <a:lnTo>
                    <a:pt x="2441" y="692"/>
                  </a:lnTo>
                  <a:lnTo>
                    <a:pt x="2450" y="702"/>
                  </a:lnTo>
                  <a:lnTo>
                    <a:pt x="2461" y="711"/>
                  </a:lnTo>
                  <a:lnTo>
                    <a:pt x="2473" y="718"/>
                  </a:lnTo>
                  <a:lnTo>
                    <a:pt x="2486" y="725"/>
                  </a:lnTo>
                  <a:lnTo>
                    <a:pt x="2499" y="731"/>
                  </a:lnTo>
                  <a:lnTo>
                    <a:pt x="2512" y="736"/>
                  </a:lnTo>
                  <a:lnTo>
                    <a:pt x="2527" y="739"/>
                  </a:lnTo>
                  <a:lnTo>
                    <a:pt x="2542" y="741"/>
                  </a:lnTo>
                  <a:lnTo>
                    <a:pt x="2558" y="742"/>
                  </a:lnTo>
                  <a:lnTo>
                    <a:pt x="2903" y="742"/>
                  </a:lnTo>
                  <a:lnTo>
                    <a:pt x="2903" y="742"/>
                  </a:lnTo>
                  <a:lnTo>
                    <a:pt x="2908" y="742"/>
                  </a:lnTo>
                  <a:lnTo>
                    <a:pt x="2912" y="743"/>
                  </a:lnTo>
                  <a:lnTo>
                    <a:pt x="2916" y="745"/>
                  </a:lnTo>
                  <a:lnTo>
                    <a:pt x="2919" y="747"/>
                  </a:lnTo>
                  <a:lnTo>
                    <a:pt x="2922" y="750"/>
                  </a:lnTo>
                  <a:lnTo>
                    <a:pt x="2923" y="754"/>
                  </a:lnTo>
                  <a:lnTo>
                    <a:pt x="2926" y="757"/>
                  </a:lnTo>
                  <a:lnTo>
                    <a:pt x="2926" y="761"/>
                  </a:lnTo>
                  <a:lnTo>
                    <a:pt x="2926" y="951"/>
                  </a:lnTo>
                  <a:lnTo>
                    <a:pt x="2926" y="951"/>
                  </a:lnTo>
                  <a:lnTo>
                    <a:pt x="2927" y="971"/>
                  </a:lnTo>
                  <a:lnTo>
                    <a:pt x="2930" y="991"/>
                  </a:lnTo>
                  <a:lnTo>
                    <a:pt x="2936" y="1010"/>
                  </a:lnTo>
                  <a:lnTo>
                    <a:pt x="2943" y="1029"/>
                  </a:lnTo>
                  <a:lnTo>
                    <a:pt x="2952" y="1047"/>
                  </a:lnTo>
                  <a:lnTo>
                    <a:pt x="2963" y="1063"/>
                  </a:lnTo>
                  <a:lnTo>
                    <a:pt x="2977" y="1079"/>
                  </a:lnTo>
                  <a:lnTo>
                    <a:pt x="2991" y="1093"/>
                  </a:lnTo>
                  <a:lnTo>
                    <a:pt x="3007" y="1106"/>
                  </a:lnTo>
                  <a:lnTo>
                    <a:pt x="3024" y="1119"/>
                  </a:lnTo>
                  <a:lnTo>
                    <a:pt x="3043" y="1129"/>
                  </a:lnTo>
                  <a:lnTo>
                    <a:pt x="3062" y="1137"/>
                  </a:lnTo>
                  <a:lnTo>
                    <a:pt x="3083" y="1144"/>
                  </a:lnTo>
                  <a:lnTo>
                    <a:pt x="3104" y="1149"/>
                  </a:lnTo>
                  <a:lnTo>
                    <a:pt x="3127" y="1152"/>
                  </a:lnTo>
                  <a:lnTo>
                    <a:pt x="3150" y="1153"/>
                  </a:lnTo>
                  <a:lnTo>
                    <a:pt x="3687" y="1153"/>
                  </a:lnTo>
                  <a:lnTo>
                    <a:pt x="3687" y="4529"/>
                  </a:lnTo>
                  <a:lnTo>
                    <a:pt x="3687" y="4529"/>
                  </a:lnTo>
                  <a:lnTo>
                    <a:pt x="3688" y="4543"/>
                  </a:lnTo>
                  <a:lnTo>
                    <a:pt x="3690" y="4557"/>
                  </a:lnTo>
                  <a:lnTo>
                    <a:pt x="3693" y="4570"/>
                  </a:lnTo>
                  <a:lnTo>
                    <a:pt x="3699" y="4582"/>
                  </a:lnTo>
                  <a:lnTo>
                    <a:pt x="3704" y="4594"/>
                  </a:lnTo>
                  <a:lnTo>
                    <a:pt x="3712" y="4606"/>
                  </a:lnTo>
                  <a:lnTo>
                    <a:pt x="3721" y="4617"/>
                  </a:lnTo>
                  <a:lnTo>
                    <a:pt x="3731" y="4627"/>
                  </a:lnTo>
                  <a:lnTo>
                    <a:pt x="3741" y="4635"/>
                  </a:lnTo>
                  <a:lnTo>
                    <a:pt x="3753" y="4643"/>
                  </a:lnTo>
                  <a:lnTo>
                    <a:pt x="3766" y="4650"/>
                  </a:lnTo>
                  <a:lnTo>
                    <a:pt x="3779" y="4656"/>
                  </a:lnTo>
                  <a:lnTo>
                    <a:pt x="3793" y="4660"/>
                  </a:lnTo>
                  <a:lnTo>
                    <a:pt x="3808" y="4664"/>
                  </a:lnTo>
                  <a:lnTo>
                    <a:pt x="3822" y="4666"/>
                  </a:lnTo>
                  <a:lnTo>
                    <a:pt x="3838" y="4667"/>
                  </a:lnTo>
                  <a:lnTo>
                    <a:pt x="3838" y="4667"/>
                  </a:lnTo>
                  <a:close/>
                </a:path>
              </a:pathLst>
            </a:custGeom>
            <a:grpFill/>
            <a:ln>
              <a:solidFill>
                <a:schemeClr val="accent2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33">
              <a:extLst>
                <a:ext uri="{FF2B5EF4-FFF2-40B4-BE49-F238E27FC236}">
                  <a16:creationId xmlns:a16="http://schemas.microsoft.com/office/drawing/2014/main" id="{0FBFE84C-5F28-6C99-A6EE-3685717608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7" y="323"/>
              <a:ext cx="150" cy="30"/>
            </a:xfrm>
            <a:custGeom>
              <a:avLst/>
              <a:gdLst>
                <a:gd name="T0" fmla="*/ 1350 w 1502"/>
                <a:gd name="T1" fmla="*/ 273 h 273"/>
                <a:gd name="T2" fmla="*/ 1366 w 1502"/>
                <a:gd name="T3" fmla="*/ 272 h 273"/>
                <a:gd name="T4" fmla="*/ 1396 w 1502"/>
                <a:gd name="T5" fmla="*/ 267 h 273"/>
                <a:gd name="T6" fmla="*/ 1422 w 1502"/>
                <a:gd name="T7" fmla="*/ 256 h 273"/>
                <a:gd name="T8" fmla="*/ 1447 w 1502"/>
                <a:gd name="T9" fmla="*/ 242 h 273"/>
                <a:gd name="T10" fmla="*/ 1467 w 1502"/>
                <a:gd name="T11" fmla="*/ 223 h 273"/>
                <a:gd name="T12" fmla="*/ 1483 w 1502"/>
                <a:gd name="T13" fmla="*/ 201 h 273"/>
                <a:gd name="T14" fmla="*/ 1494 w 1502"/>
                <a:gd name="T15" fmla="*/ 177 h 273"/>
                <a:gd name="T16" fmla="*/ 1501 w 1502"/>
                <a:gd name="T17" fmla="*/ 150 h 273"/>
                <a:gd name="T18" fmla="*/ 1502 w 1502"/>
                <a:gd name="T19" fmla="*/ 136 h 273"/>
                <a:gd name="T20" fmla="*/ 1499 w 1502"/>
                <a:gd name="T21" fmla="*/ 109 h 273"/>
                <a:gd name="T22" fmla="*/ 1490 w 1502"/>
                <a:gd name="T23" fmla="*/ 83 h 273"/>
                <a:gd name="T24" fmla="*/ 1476 w 1502"/>
                <a:gd name="T25" fmla="*/ 60 h 273"/>
                <a:gd name="T26" fmla="*/ 1458 w 1502"/>
                <a:gd name="T27" fmla="*/ 40 h 273"/>
                <a:gd name="T28" fmla="*/ 1434 w 1502"/>
                <a:gd name="T29" fmla="*/ 23 h 273"/>
                <a:gd name="T30" fmla="*/ 1409 w 1502"/>
                <a:gd name="T31" fmla="*/ 11 h 273"/>
                <a:gd name="T32" fmla="*/ 1381 w 1502"/>
                <a:gd name="T33" fmla="*/ 3 h 273"/>
                <a:gd name="T34" fmla="*/ 1350 w 1502"/>
                <a:gd name="T35" fmla="*/ 0 h 273"/>
                <a:gd name="T36" fmla="*/ 151 w 1502"/>
                <a:gd name="T37" fmla="*/ 0 h 273"/>
                <a:gd name="T38" fmla="*/ 121 w 1502"/>
                <a:gd name="T39" fmla="*/ 3 h 273"/>
                <a:gd name="T40" fmla="*/ 92 w 1502"/>
                <a:gd name="T41" fmla="*/ 11 h 273"/>
                <a:gd name="T42" fmla="*/ 67 w 1502"/>
                <a:gd name="T43" fmla="*/ 23 h 273"/>
                <a:gd name="T44" fmla="*/ 44 w 1502"/>
                <a:gd name="T45" fmla="*/ 40 h 273"/>
                <a:gd name="T46" fmla="*/ 26 w 1502"/>
                <a:gd name="T47" fmla="*/ 60 h 273"/>
                <a:gd name="T48" fmla="*/ 12 w 1502"/>
                <a:gd name="T49" fmla="*/ 83 h 273"/>
                <a:gd name="T50" fmla="*/ 3 w 1502"/>
                <a:gd name="T51" fmla="*/ 109 h 273"/>
                <a:gd name="T52" fmla="*/ 0 w 1502"/>
                <a:gd name="T53" fmla="*/ 136 h 273"/>
                <a:gd name="T54" fmla="*/ 1 w 1502"/>
                <a:gd name="T55" fmla="*/ 150 h 273"/>
                <a:gd name="T56" fmla="*/ 7 w 1502"/>
                <a:gd name="T57" fmla="*/ 177 h 273"/>
                <a:gd name="T58" fmla="*/ 18 w 1502"/>
                <a:gd name="T59" fmla="*/ 201 h 273"/>
                <a:gd name="T60" fmla="*/ 34 w 1502"/>
                <a:gd name="T61" fmla="*/ 223 h 273"/>
                <a:gd name="T62" fmla="*/ 56 w 1502"/>
                <a:gd name="T63" fmla="*/ 242 h 273"/>
                <a:gd name="T64" fmla="*/ 79 w 1502"/>
                <a:gd name="T65" fmla="*/ 256 h 273"/>
                <a:gd name="T66" fmla="*/ 107 w 1502"/>
                <a:gd name="T67" fmla="*/ 267 h 273"/>
                <a:gd name="T68" fmla="*/ 136 w 1502"/>
                <a:gd name="T69" fmla="*/ 272 h 273"/>
                <a:gd name="T70" fmla="*/ 151 w 1502"/>
                <a:gd name="T71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02" h="273">
                  <a:moveTo>
                    <a:pt x="151" y="273"/>
                  </a:moveTo>
                  <a:lnTo>
                    <a:pt x="1350" y="273"/>
                  </a:lnTo>
                  <a:lnTo>
                    <a:pt x="1350" y="273"/>
                  </a:lnTo>
                  <a:lnTo>
                    <a:pt x="1366" y="272"/>
                  </a:lnTo>
                  <a:lnTo>
                    <a:pt x="1381" y="270"/>
                  </a:lnTo>
                  <a:lnTo>
                    <a:pt x="1396" y="267"/>
                  </a:lnTo>
                  <a:lnTo>
                    <a:pt x="1409" y="262"/>
                  </a:lnTo>
                  <a:lnTo>
                    <a:pt x="1422" y="256"/>
                  </a:lnTo>
                  <a:lnTo>
                    <a:pt x="1434" y="249"/>
                  </a:lnTo>
                  <a:lnTo>
                    <a:pt x="1447" y="242"/>
                  </a:lnTo>
                  <a:lnTo>
                    <a:pt x="1458" y="233"/>
                  </a:lnTo>
                  <a:lnTo>
                    <a:pt x="1467" y="223"/>
                  </a:lnTo>
                  <a:lnTo>
                    <a:pt x="1476" y="213"/>
                  </a:lnTo>
                  <a:lnTo>
                    <a:pt x="1483" y="201"/>
                  </a:lnTo>
                  <a:lnTo>
                    <a:pt x="1490" y="189"/>
                  </a:lnTo>
                  <a:lnTo>
                    <a:pt x="1494" y="177"/>
                  </a:lnTo>
                  <a:lnTo>
                    <a:pt x="1499" y="164"/>
                  </a:lnTo>
                  <a:lnTo>
                    <a:pt x="1501" y="150"/>
                  </a:lnTo>
                  <a:lnTo>
                    <a:pt x="1502" y="136"/>
                  </a:lnTo>
                  <a:lnTo>
                    <a:pt x="1502" y="136"/>
                  </a:lnTo>
                  <a:lnTo>
                    <a:pt x="1501" y="122"/>
                  </a:lnTo>
                  <a:lnTo>
                    <a:pt x="1499" y="109"/>
                  </a:lnTo>
                  <a:lnTo>
                    <a:pt x="1494" y="96"/>
                  </a:lnTo>
                  <a:lnTo>
                    <a:pt x="1490" y="83"/>
                  </a:lnTo>
                  <a:lnTo>
                    <a:pt x="1483" y="71"/>
                  </a:lnTo>
                  <a:lnTo>
                    <a:pt x="1476" y="60"/>
                  </a:lnTo>
                  <a:lnTo>
                    <a:pt x="1467" y="50"/>
                  </a:lnTo>
                  <a:lnTo>
                    <a:pt x="1458" y="40"/>
                  </a:lnTo>
                  <a:lnTo>
                    <a:pt x="1447" y="31"/>
                  </a:lnTo>
                  <a:lnTo>
                    <a:pt x="1434" y="23"/>
                  </a:lnTo>
                  <a:lnTo>
                    <a:pt x="1422" y="16"/>
                  </a:lnTo>
                  <a:lnTo>
                    <a:pt x="1409" y="11"/>
                  </a:lnTo>
                  <a:lnTo>
                    <a:pt x="1396" y="6"/>
                  </a:lnTo>
                  <a:lnTo>
                    <a:pt x="1381" y="3"/>
                  </a:lnTo>
                  <a:lnTo>
                    <a:pt x="1366" y="1"/>
                  </a:lnTo>
                  <a:lnTo>
                    <a:pt x="1350" y="0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36" y="1"/>
                  </a:lnTo>
                  <a:lnTo>
                    <a:pt x="121" y="3"/>
                  </a:lnTo>
                  <a:lnTo>
                    <a:pt x="107" y="6"/>
                  </a:lnTo>
                  <a:lnTo>
                    <a:pt x="92" y="11"/>
                  </a:lnTo>
                  <a:lnTo>
                    <a:pt x="79" y="16"/>
                  </a:lnTo>
                  <a:lnTo>
                    <a:pt x="67" y="23"/>
                  </a:lnTo>
                  <a:lnTo>
                    <a:pt x="56" y="31"/>
                  </a:lnTo>
                  <a:lnTo>
                    <a:pt x="44" y="40"/>
                  </a:lnTo>
                  <a:lnTo>
                    <a:pt x="34" y="50"/>
                  </a:lnTo>
                  <a:lnTo>
                    <a:pt x="26" y="60"/>
                  </a:lnTo>
                  <a:lnTo>
                    <a:pt x="18" y="71"/>
                  </a:lnTo>
                  <a:lnTo>
                    <a:pt x="12" y="83"/>
                  </a:lnTo>
                  <a:lnTo>
                    <a:pt x="7" y="96"/>
                  </a:lnTo>
                  <a:lnTo>
                    <a:pt x="3" y="109"/>
                  </a:lnTo>
                  <a:lnTo>
                    <a:pt x="1" y="122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1" y="150"/>
                  </a:lnTo>
                  <a:lnTo>
                    <a:pt x="3" y="164"/>
                  </a:lnTo>
                  <a:lnTo>
                    <a:pt x="7" y="177"/>
                  </a:lnTo>
                  <a:lnTo>
                    <a:pt x="12" y="189"/>
                  </a:lnTo>
                  <a:lnTo>
                    <a:pt x="18" y="201"/>
                  </a:lnTo>
                  <a:lnTo>
                    <a:pt x="26" y="213"/>
                  </a:lnTo>
                  <a:lnTo>
                    <a:pt x="34" y="223"/>
                  </a:lnTo>
                  <a:lnTo>
                    <a:pt x="44" y="233"/>
                  </a:lnTo>
                  <a:lnTo>
                    <a:pt x="56" y="242"/>
                  </a:lnTo>
                  <a:lnTo>
                    <a:pt x="67" y="249"/>
                  </a:lnTo>
                  <a:lnTo>
                    <a:pt x="79" y="256"/>
                  </a:lnTo>
                  <a:lnTo>
                    <a:pt x="92" y="262"/>
                  </a:lnTo>
                  <a:lnTo>
                    <a:pt x="107" y="267"/>
                  </a:lnTo>
                  <a:lnTo>
                    <a:pt x="121" y="270"/>
                  </a:lnTo>
                  <a:lnTo>
                    <a:pt x="136" y="272"/>
                  </a:lnTo>
                  <a:lnTo>
                    <a:pt x="151" y="273"/>
                  </a:lnTo>
                  <a:lnTo>
                    <a:pt x="151" y="273"/>
                  </a:lnTo>
                  <a:close/>
                </a:path>
              </a:pathLst>
            </a:custGeom>
            <a:grpFill/>
            <a:ln>
              <a:solidFill>
                <a:schemeClr val="accent2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34">
              <a:extLst>
                <a:ext uri="{FF2B5EF4-FFF2-40B4-BE49-F238E27FC236}">
                  <a16:creationId xmlns:a16="http://schemas.microsoft.com/office/drawing/2014/main" id="{876E29D5-F701-95E0-484E-E08FD74D61E6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7" y="413"/>
              <a:ext cx="219" cy="30"/>
            </a:xfrm>
            <a:custGeom>
              <a:avLst/>
              <a:gdLst>
                <a:gd name="T0" fmla="*/ 151 w 2189"/>
                <a:gd name="T1" fmla="*/ 0 h 274"/>
                <a:gd name="T2" fmla="*/ 136 w 2189"/>
                <a:gd name="T3" fmla="*/ 1 h 274"/>
                <a:gd name="T4" fmla="*/ 107 w 2189"/>
                <a:gd name="T5" fmla="*/ 6 h 274"/>
                <a:gd name="T6" fmla="*/ 79 w 2189"/>
                <a:gd name="T7" fmla="*/ 17 h 274"/>
                <a:gd name="T8" fmla="*/ 56 w 2189"/>
                <a:gd name="T9" fmla="*/ 31 h 274"/>
                <a:gd name="T10" fmla="*/ 34 w 2189"/>
                <a:gd name="T11" fmla="*/ 50 h 274"/>
                <a:gd name="T12" fmla="*/ 18 w 2189"/>
                <a:gd name="T13" fmla="*/ 72 h 274"/>
                <a:gd name="T14" fmla="*/ 7 w 2189"/>
                <a:gd name="T15" fmla="*/ 96 h 274"/>
                <a:gd name="T16" fmla="*/ 1 w 2189"/>
                <a:gd name="T17" fmla="*/ 124 h 274"/>
                <a:gd name="T18" fmla="*/ 0 w 2189"/>
                <a:gd name="T19" fmla="*/ 138 h 274"/>
                <a:gd name="T20" fmla="*/ 3 w 2189"/>
                <a:gd name="T21" fmla="*/ 165 h 274"/>
                <a:gd name="T22" fmla="*/ 12 w 2189"/>
                <a:gd name="T23" fmla="*/ 191 h 274"/>
                <a:gd name="T24" fmla="*/ 26 w 2189"/>
                <a:gd name="T25" fmla="*/ 214 h 274"/>
                <a:gd name="T26" fmla="*/ 44 w 2189"/>
                <a:gd name="T27" fmla="*/ 234 h 274"/>
                <a:gd name="T28" fmla="*/ 67 w 2189"/>
                <a:gd name="T29" fmla="*/ 251 h 274"/>
                <a:gd name="T30" fmla="*/ 92 w 2189"/>
                <a:gd name="T31" fmla="*/ 263 h 274"/>
                <a:gd name="T32" fmla="*/ 121 w 2189"/>
                <a:gd name="T33" fmla="*/ 271 h 274"/>
                <a:gd name="T34" fmla="*/ 151 w 2189"/>
                <a:gd name="T35" fmla="*/ 274 h 274"/>
                <a:gd name="T36" fmla="*/ 2038 w 2189"/>
                <a:gd name="T37" fmla="*/ 274 h 274"/>
                <a:gd name="T38" fmla="*/ 2068 w 2189"/>
                <a:gd name="T39" fmla="*/ 271 h 274"/>
                <a:gd name="T40" fmla="*/ 2097 w 2189"/>
                <a:gd name="T41" fmla="*/ 263 h 274"/>
                <a:gd name="T42" fmla="*/ 2122 w 2189"/>
                <a:gd name="T43" fmla="*/ 251 h 274"/>
                <a:gd name="T44" fmla="*/ 2144 w 2189"/>
                <a:gd name="T45" fmla="*/ 234 h 274"/>
                <a:gd name="T46" fmla="*/ 2163 w 2189"/>
                <a:gd name="T47" fmla="*/ 214 h 274"/>
                <a:gd name="T48" fmla="*/ 2177 w 2189"/>
                <a:gd name="T49" fmla="*/ 191 h 274"/>
                <a:gd name="T50" fmla="*/ 2186 w 2189"/>
                <a:gd name="T51" fmla="*/ 165 h 274"/>
                <a:gd name="T52" fmla="*/ 2189 w 2189"/>
                <a:gd name="T53" fmla="*/ 138 h 274"/>
                <a:gd name="T54" fmla="*/ 2188 w 2189"/>
                <a:gd name="T55" fmla="*/ 124 h 274"/>
                <a:gd name="T56" fmla="*/ 2182 w 2189"/>
                <a:gd name="T57" fmla="*/ 96 h 274"/>
                <a:gd name="T58" fmla="*/ 2170 w 2189"/>
                <a:gd name="T59" fmla="*/ 72 h 274"/>
                <a:gd name="T60" fmla="*/ 2154 w 2189"/>
                <a:gd name="T61" fmla="*/ 50 h 274"/>
                <a:gd name="T62" fmla="*/ 2133 w 2189"/>
                <a:gd name="T63" fmla="*/ 31 h 274"/>
                <a:gd name="T64" fmla="*/ 2110 w 2189"/>
                <a:gd name="T65" fmla="*/ 17 h 274"/>
                <a:gd name="T66" fmla="*/ 2082 w 2189"/>
                <a:gd name="T67" fmla="*/ 6 h 274"/>
                <a:gd name="T68" fmla="*/ 2052 w 2189"/>
                <a:gd name="T69" fmla="*/ 1 h 274"/>
                <a:gd name="T70" fmla="*/ 2038 w 2189"/>
                <a:gd name="T71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89" h="274">
                  <a:moveTo>
                    <a:pt x="2038" y="0"/>
                  </a:moveTo>
                  <a:lnTo>
                    <a:pt x="151" y="0"/>
                  </a:lnTo>
                  <a:lnTo>
                    <a:pt x="151" y="0"/>
                  </a:lnTo>
                  <a:lnTo>
                    <a:pt x="136" y="1"/>
                  </a:lnTo>
                  <a:lnTo>
                    <a:pt x="121" y="3"/>
                  </a:lnTo>
                  <a:lnTo>
                    <a:pt x="107" y="6"/>
                  </a:lnTo>
                  <a:lnTo>
                    <a:pt x="92" y="11"/>
                  </a:lnTo>
                  <a:lnTo>
                    <a:pt x="79" y="17"/>
                  </a:lnTo>
                  <a:lnTo>
                    <a:pt x="67" y="23"/>
                  </a:lnTo>
                  <a:lnTo>
                    <a:pt x="56" y="31"/>
                  </a:lnTo>
                  <a:lnTo>
                    <a:pt x="44" y="40"/>
                  </a:lnTo>
                  <a:lnTo>
                    <a:pt x="34" y="50"/>
                  </a:lnTo>
                  <a:lnTo>
                    <a:pt x="26" y="60"/>
                  </a:lnTo>
                  <a:lnTo>
                    <a:pt x="18" y="72"/>
                  </a:lnTo>
                  <a:lnTo>
                    <a:pt x="12" y="83"/>
                  </a:lnTo>
                  <a:lnTo>
                    <a:pt x="7" y="96"/>
                  </a:lnTo>
                  <a:lnTo>
                    <a:pt x="3" y="110"/>
                  </a:lnTo>
                  <a:lnTo>
                    <a:pt x="1" y="124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1" y="151"/>
                  </a:lnTo>
                  <a:lnTo>
                    <a:pt x="3" y="165"/>
                  </a:lnTo>
                  <a:lnTo>
                    <a:pt x="7" y="178"/>
                  </a:lnTo>
                  <a:lnTo>
                    <a:pt x="12" y="191"/>
                  </a:lnTo>
                  <a:lnTo>
                    <a:pt x="18" y="203"/>
                  </a:lnTo>
                  <a:lnTo>
                    <a:pt x="26" y="214"/>
                  </a:lnTo>
                  <a:lnTo>
                    <a:pt x="34" y="224"/>
                  </a:lnTo>
                  <a:lnTo>
                    <a:pt x="44" y="234"/>
                  </a:lnTo>
                  <a:lnTo>
                    <a:pt x="56" y="243"/>
                  </a:lnTo>
                  <a:lnTo>
                    <a:pt x="67" y="251"/>
                  </a:lnTo>
                  <a:lnTo>
                    <a:pt x="79" y="257"/>
                  </a:lnTo>
                  <a:lnTo>
                    <a:pt x="92" y="263"/>
                  </a:lnTo>
                  <a:lnTo>
                    <a:pt x="107" y="268"/>
                  </a:lnTo>
                  <a:lnTo>
                    <a:pt x="121" y="271"/>
                  </a:lnTo>
                  <a:lnTo>
                    <a:pt x="136" y="273"/>
                  </a:lnTo>
                  <a:lnTo>
                    <a:pt x="151" y="274"/>
                  </a:lnTo>
                  <a:lnTo>
                    <a:pt x="2038" y="274"/>
                  </a:lnTo>
                  <a:lnTo>
                    <a:pt x="2038" y="274"/>
                  </a:lnTo>
                  <a:lnTo>
                    <a:pt x="2052" y="273"/>
                  </a:lnTo>
                  <a:lnTo>
                    <a:pt x="2068" y="271"/>
                  </a:lnTo>
                  <a:lnTo>
                    <a:pt x="2082" y="268"/>
                  </a:lnTo>
                  <a:lnTo>
                    <a:pt x="2097" y="263"/>
                  </a:lnTo>
                  <a:lnTo>
                    <a:pt x="2110" y="257"/>
                  </a:lnTo>
                  <a:lnTo>
                    <a:pt x="2122" y="251"/>
                  </a:lnTo>
                  <a:lnTo>
                    <a:pt x="2133" y="243"/>
                  </a:lnTo>
                  <a:lnTo>
                    <a:pt x="2144" y="234"/>
                  </a:lnTo>
                  <a:lnTo>
                    <a:pt x="2154" y="224"/>
                  </a:lnTo>
                  <a:lnTo>
                    <a:pt x="2163" y="214"/>
                  </a:lnTo>
                  <a:lnTo>
                    <a:pt x="2170" y="203"/>
                  </a:lnTo>
                  <a:lnTo>
                    <a:pt x="2177" y="191"/>
                  </a:lnTo>
                  <a:lnTo>
                    <a:pt x="2182" y="178"/>
                  </a:lnTo>
                  <a:lnTo>
                    <a:pt x="2186" y="165"/>
                  </a:lnTo>
                  <a:lnTo>
                    <a:pt x="2188" y="151"/>
                  </a:lnTo>
                  <a:lnTo>
                    <a:pt x="2189" y="138"/>
                  </a:lnTo>
                  <a:lnTo>
                    <a:pt x="2189" y="138"/>
                  </a:lnTo>
                  <a:lnTo>
                    <a:pt x="2188" y="124"/>
                  </a:lnTo>
                  <a:lnTo>
                    <a:pt x="2186" y="110"/>
                  </a:lnTo>
                  <a:lnTo>
                    <a:pt x="2182" y="96"/>
                  </a:lnTo>
                  <a:lnTo>
                    <a:pt x="2177" y="83"/>
                  </a:lnTo>
                  <a:lnTo>
                    <a:pt x="2170" y="72"/>
                  </a:lnTo>
                  <a:lnTo>
                    <a:pt x="2163" y="60"/>
                  </a:lnTo>
                  <a:lnTo>
                    <a:pt x="2154" y="50"/>
                  </a:lnTo>
                  <a:lnTo>
                    <a:pt x="2144" y="40"/>
                  </a:lnTo>
                  <a:lnTo>
                    <a:pt x="2133" y="31"/>
                  </a:lnTo>
                  <a:lnTo>
                    <a:pt x="2122" y="23"/>
                  </a:lnTo>
                  <a:lnTo>
                    <a:pt x="2110" y="17"/>
                  </a:lnTo>
                  <a:lnTo>
                    <a:pt x="2097" y="11"/>
                  </a:lnTo>
                  <a:lnTo>
                    <a:pt x="2082" y="6"/>
                  </a:lnTo>
                  <a:lnTo>
                    <a:pt x="2068" y="3"/>
                  </a:lnTo>
                  <a:lnTo>
                    <a:pt x="2052" y="1"/>
                  </a:lnTo>
                  <a:lnTo>
                    <a:pt x="2038" y="0"/>
                  </a:lnTo>
                  <a:lnTo>
                    <a:pt x="2038" y="0"/>
                  </a:lnTo>
                  <a:close/>
                </a:path>
              </a:pathLst>
            </a:custGeom>
            <a:grpFill/>
            <a:ln>
              <a:solidFill>
                <a:schemeClr val="accent2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CFCFD208-CF0E-AFBA-59AF-3B73892A31CD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7" y="503"/>
              <a:ext cx="219" cy="30"/>
            </a:xfrm>
            <a:custGeom>
              <a:avLst/>
              <a:gdLst>
                <a:gd name="T0" fmla="*/ 151 w 2189"/>
                <a:gd name="T1" fmla="*/ 0 h 274"/>
                <a:gd name="T2" fmla="*/ 136 w 2189"/>
                <a:gd name="T3" fmla="*/ 1 h 274"/>
                <a:gd name="T4" fmla="*/ 107 w 2189"/>
                <a:gd name="T5" fmla="*/ 6 h 274"/>
                <a:gd name="T6" fmla="*/ 79 w 2189"/>
                <a:gd name="T7" fmla="*/ 17 h 274"/>
                <a:gd name="T8" fmla="*/ 56 w 2189"/>
                <a:gd name="T9" fmla="*/ 31 h 274"/>
                <a:gd name="T10" fmla="*/ 34 w 2189"/>
                <a:gd name="T11" fmla="*/ 50 h 274"/>
                <a:gd name="T12" fmla="*/ 18 w 2189"/>
                <a:gd name="T13" fmla="*/ 72 h 274"/>
                <a:gd name="T14" fmla="*/ 7 w 2189"/>
                <a:gd name="T15" fmla="*/ 96 h 274"/>
                <a:gd name="T16" fmla="*/ 1 w 2189"/>
                <a:gd name="T17" fmla="*/ 123 h 274"/>
                <a:gd name="T18" fmla="*/ 0 w 2189"/>
                <a:gd name="T19" fmla="*/ 137 h 274"/>
                <a:gd name="T20" fmla="*/ 3 w 2189"/>
                <a:gd name="T21" fmla="*/ 164 h 274"/>
                <a:gd name="T22" fmla="*/ 12 w 2189"/>
                <a:gd name="T23" fmla="*/ 190 h 274"/>
                <a:gd name="T24" fmla="*/ 26 w 2189"/>
                <a:gd name="T25" fmla="*/ 213 h 274"/>
                <a:gd name="T26" fmla="*/ 44 w 2189"/>
                <a:gd name="T27" fmla="*/ 233 h 274"/>
                <a:gd name="T28" fmla="*/ 67 w 2189"/>
                <a:gd name="T29" fmla="*/ 251 h 274"/>
                <a:gd name="T30" fmla="*/ 92 w 2189"/>
                <a:gd name="T31" fmla="*/ 263 h 274"/>
                <a:gd name="T32" fmla="*/ 121 w 2189"/>
                <a:gd name="T33" fmla="*/ 271 h 274"/>
                <a:gd name="T34" fmla="*/ 151 w 2189"/>
                <a:gd name="T35" fmla="*/ 274 h 274"/>
                <a:gd name="T36" fmla="*/ 2038 w 2189"/>
                <a:gd name="T37" fmla="*/ 274 h 274"/>
                <a:gd name="T38" fmla="*/ 2068 w 2189"/>
                <a:gd name="T39" fmla="*/ 271 h 274"/>
                <a:gd name="T40" fmla="*/ 2097 w 2189"/>
                <a:gd name="T41" fmla="*/ 263 h 274"/>
                <a:gd name="T42" fmla="*/ 2122 w 2189"/>
                <a:gd name="T43" fmla="*/ 251 h 274"/>
                <a:gd name="T44" fmla="*/ 2144 w 2189"/>
                <a:gd name="T45" fmla="*/ 233 h 274"/>
                <a:gd name="T46" fmla="*/ 2163 w 2189"/>
                <a:gd name="T47" fmla="*/ 213 h 274"/>
                <a:gd name="T48" fmla="*/ 2177 w 2189"/>
                <a:gd name="T49" fmla="*/ 190 h 274"/>
                <a:gd name="T50" fmla="*/ 2186 w 2189"/>
                <a:gd name="T51" fmla="*/ 164 h 274"/>
                <a:gd name="T52" fmla="*/ 2189 w 2189"/>
                <a:gd name="T53" fmla="*/ 137 h 274"/>
                <a:gd name="T54" fmla="*/ 2188 w 2189"/>
                <a:gd name="T55" fmla="*/ 123 h 274"/>
                <a:gd name="T56" fmla="*/ 2182 w 2189"/>
                <a:gd name="T57" fmla="*/ 96 h 274"/>
                <a:gd name="T58" fmla="*/ 2170 w 2189"/>
                <a:gd name="T59" fmla="*/ 72 h 274"/>
                <a:gd name="T60" fmla="*/ 2154 w 2189"/>
                <a:gd name="T61" fmla="*/ 50 h 274"/>
                <a:gd name="T62" fmla="*/ 2133 w 2189"/>
                <a:gd name="T63" fmla="*/ 31 h 274"/>
                <a:gd name="T64" fmla="*/ 2110 w 2189"/>
                <a:gd name="T65" fmla="*/ 17 h 274"/>
                <a:gd name="T66" fmla="*/ 2082 w 2189"/>
                <a:gd name="T67" fmla="*/ 6 h 274"/>
                <a:gd name="T68" fmla="*/ 2052 w 2189"/>
                <a:gd name="T69" fmla="*/ 1 h 274"/>
                <a:gd name="T70" fmla="*/ 2038 w 2189"/>
                <a:gd name="T71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89" h="274">
                  <a:moveTo>
                    <a:pt x="2038" y="0"/>
                  </a:moveTo>
                  <a:lnTo>
                    <a:pt x="151" y="0"/>
                  </a:lnTo>
                  <a:lnTo>
                    <a:pt x="151" y="0"/>
                  </a:lnTo>
                  <a:lnTo>
                    <a:pt x="136" y="1"/>
                  </a:lnTo>
                  <a:lnTo>
                    <a:pt x="121" y="3"/>
                  </a:lnTo>
                  <a:lnTo>
                    <a:pt x="107" y="6"/>
                  </a:lnTo>
                  <a:lnTo>
                    <a:pt x="92" y="11"/>
                  </a:lnTo>
                  <a:lnTo>
                    <a:pt x="79" y="17"/>
                  </a:lnTo>
                  <a:lnTo>
                    <a:pt x="67" y="24"/>
                  </a:lnTo>
                  <a:lnTo>
                    <a:pt x="56" y="31"/>
                  </a:lnTo>
                  <a:lnTo>
                    <a:pt x="44" y="40"/>
                  </a:lnTo>
                  <a:lnTo>
                    <a:pt x="34" y="50"/>
                  </a:lnTo>
                  <a:lnTo>
                    <a:pt x="26" y="60"/>
                  </a:lnTo>
                  <a:lnTo>
                    <a:pt x="18" y="72"/>
                  </a:lnTo>
                  <a:lnTo>
                    <a:pt x="12" y="84"/>
                  </a:lnTo>
                  <a:lnTo>
                    <a:pt x="7" y="96"/>
                  </a:lnTo>
                  <a:lnTo>
                    <a:pt x="3" y="109"/>
                  </a:lnTo>
                  <a:lnTo>
                    <a:pt x="1" y="123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1" y="151"/>
                  </a:lnTo>
                  <a:lnTo>
                    <a:pt x="3" y="164"/>
                  </a:lnTo>
                  <a:lnTo>
                    <a:pt x="7" y="177"/>
                  </a:lnTo>
                  <a:lnTo>
                    <a:pt x="12" y="190"/>
                  </a:lnTo>
                  <a:lnTo>
                    <a:pt x="18" y="202"/>
                  </a:lnTo>
                  <a:lnTo>
                    <a:pt x="26" y="213"/>
                  </a:lnTo>
                  <a:lnTo>
                    <a:pt x="34" y="223"/>
                  </a:lnTo>
                  <a:lnTo>
                    <a:pt x="44" y="233"/>
                  </a:lnTo>
                  <a:lnTo>
                    <a:pt x="56" y="242"/>
                  </a:lnTo>
                  <a:lnTo>
                    <a:pt x="67" y="251"/>
                  </a:lnTo>
                  <a:lnTo>
                    <a:pt x="79" y="258"/>
                  </a:lnTo>
                  <a:lnTo>
                    <a:pt x="92" y="263"/>
                  </a:lnTo>
                  <a:lnTo>
                    <a:pt x="107" y="268"/>
                  </a:lnTo>
                  <a:lnTo>
                    <a:pt x="121" y="271"/>
                  </a:lnTo>
                  <a:lnTo>
                    <a:pt x="136" y="273"/>
                  </a:lnTo>
                  <a:lnTo>
                    <a:pt x="151" y="274"/>
                  </a:lnTo>
                  <a:lnTo>
                    <a:pt x="2038" y="274"/>
                  </a:lnTo>
                  <a:lnTo>
                    <a:pt x="2038" y="274"/>
                  </a:lnTo>
                  <a:lnTo>
                    <a:pt x="2052" y="273"/>
                  </a:lnTo>
                  <a:lnTo>
                    <a:pt x="2068" y="271"/>
                  </a:lnTo>
                  <a:lnTo>
                    <a:pt x="2082" y="268"/>
                  </a:lnTo>
                  <a:lnTo>
                    <a:pt x="2097" y="263"/>
                  </a:lnTo>
                  <a:lnTo>
                    <a:pt x="2110" y="258"/>
                  </a:lnTo>
                  <a:lnTo>
                    <a:pt x="2122" y="251"/>
                  </a:lnTo>
                  <a:lnTo>
                    <a:pt x="2133" y="242"/>
                  </a:lnTo>
                  <a:lnTo>
                    <a:pt x="2144" y="233"/>
                  </a:lnTo>
                  <a:lnTo>
                    <a:pt x="2154" y="223"/>
                  </a:lnTo>
                  <a:lnTo>
                    <a:pt x="2163" y="213"/>
                  </a:lnTo>
                  <a:lnTo>
                    <a:pt x="2170" y="202"/>
                  </a:lnTo>
                  <a:lnTo>
                    <a:pt x="2177" y="190"/>
                  </a:lnTo>
                  <a:lnTo>
                    <a:pt x="2182" y="177"/>
                  </a:lnTo>
                  <a:lnTo>
                    <a:pt x="2186" y="164"/>
                  </a:lnTo>
                  <a:lnTo>
                    <a:pt x="2188" y="151"/>
                  </a:lnTo>
                  <a:lnTo>
                    <a:pt x="2189" y="137"/>
                  </a:lnTo>
                  <a:lnTo>
                    <a:pt x="2189" y="137"/>
                  </a:lnTo>
                  <a:lnTo>
                    <a:pt x="2188" y="123"/>
                  </a:lnTo>
                  <a:lnTo>
                    <a:pt x="2186" y="109"/>
                  </a:lnTo>
                  <a:lnTo>
                    <a:pt x="2182" y="96"/>
                  </a:lnTo>
                  <a:lnTo>
                    <a:pt x="2177" y="84"/>
                  </a:lnTo>
                  <a:lnTo>
                    <a:pt x="2170" y="72"/>
                  </a:lnTo>
                  <a:lnTo>
                    <a:pt x="2163" y="60"/>
                  </a:lnTo>
                  <a:lnTo>
                    <a:pt x="2154" y="50"/>
                  </a:lnTo>
                  <a:lnTo>
                    <a:pt x="2144" y="40"/>
                  </a:lnTo>
                  <a:lnTo>
                    <a:pt x="2133" y="31"/>
                  </a:lnTo>
                  <a:lnTo>
                    <a:pt x="2122" y="24"/>
                  </a:lnTo>
                  <a:lnTo>
                    <a:pt x="2110" y="17"/>
                  </a:lnTo>
                  <a:lnTo>
                    <a:pt x="2097" y="11"/>
                  </a:lnTo>
                  <a:lnTo>
                    <a:pt x="2082" y="6"/>
                  </a:lnTo>
                  <a:lnTo>
                    <a:pt x="2068" y="3"/>
                  </a:lnTo>
                  <a:lnTo>
                    <a:pt x="2052" y="1"/>
                  </a:lnTo>
                  <a:lnTo>
                    <a:pt x="2038" y="0"/>
                  </a:lnTo>
                  <a:lnTo>
                    <a:pt x="2038" y="0"/>
                  </a:lnTo>
                  <a:close/>
                </a:path>
              </a:pathLst>
            </a:custGeom>
            <a:grpFill/>
            <a:ln>
              <a:solidFill>
                <a:schemeClr val="accent2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210EB0AD-1AB1-CBBA-D63B-6445CF07E4D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6398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FD4F453-7847-A064-2E2A-3BCA9B940A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B3B823B-9624-B91C-F687-E8E54ECBE66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57F4382-45B5-7EE7-4651-DEFD3906A4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928" y="549275"/>
            <a:ext cx="9646067" cy="917835"/>
          </a:xfrm>
        </p:spPr>
        <p:txBody>
          <a:bodyPr/>
          <a:lstStyle/>
          <a:p>
            <a:r>
              <a:rPr lang="de-DE"/>
              <a:t>Die KWP zeigt Wege auf, verpflichtet aber nicht!</a:t>
            </a:r>
            <a:br>
              <a:rPr lang="de-DE"/>
            </a:br>
            <a:r>
              <a:rPr lang="de-DE" sz="2400"/>
              <a:t>Keine Umsetzungspflicht aber klare Orientierung</a:t>
            </a:r>
          </a:p>
        </p:txBody>
      </p:sp>
      <p:pic>
        <p:nvPicPr>
          <p:cNvPr id="7" name="Grafik 6" descr="Waage der Justitia mit einfarbiger Füllung">
            <a:extLst>
              <a:ext uri="{FF2B5EF4-FFF2-40B4-BE49-F238E27FC236}">
                <a16:creationId xmlns:a16="http://schemas.microsoft.com/office/drawing/2014/main" id="{580FE266-8428-385F-F2BD-72DB932049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42576" y="1894287"/>
            <a:ext cx="1260000" cy="1260000"/>
          </a:xfrm>
          <a:prstGeom prst="rect">
            <a:avLst/>
          </a:prstGeom>
        </p:spPr>
      </p:pic>
      <p:pic>
        <p:nvPicPr>
          <p:cNvPr id="8" name="Grafik 7" descr="Blaupause mit einfarbiger Füllung">
            <a:extLst>
              <a:ext uri="{FF2B5EF4-FFF2-40B4-BE49-F238E27FC236}">
                <a16:creationId xmlns:a16="http://schemas.microsoft.com/office/drawing/2014/main" id="{C12F7A89-AF38-6DD9-586B-546BE7365C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66000" y="1894287"/>
            <a:ext cx="1260000" cy="1260000"/>
          </a:xfrm>
          <a:prstGeom prst="rect">
            <a:avLst/>
          </a:prstGeom>
        </p:spPr>
      </p:pic>
      <p:pic>
        <p:nvPicPr>
          <p:cNvPr id="9" name="Grafik 8" descr="Schachfiguren mit einfarbiger Füllung">
            <a:extLst>
              <a:ext uri="{FF2B5EF4-FFF2-40B4-BE49-F238E27FC236}">
                <a16:creationId xmlns:a16="http://schemas.microsoft.com/office/drawing/2014/main" id="{4ABF4700-698F-122E-A854-4E3E3DA48C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51990" y="1894287"/>
            <a:ext cx="1260000" cy="12600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C994CF3A-E4BB-70C7-54E4-3689CF27193F}"/>
              </a:ext>
            </a:extLst>
          </p:cNvPr>
          <p:cNvSpPr/>
          <p:nvPr/>
        </p:nvSpPr>
        <p:spPr>
          <a:xfrm>
            <a:off x="766763" y="3573638"/>
            <a:ext cx="3359631" cy="25557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eine Umsetzungsgarantie, sondern strategisches Planungsinstrument! </a:t>
            </a:r>
            <a:br>
              <a:rPr lang="de-DE" sz="1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</a:rPr>
            </a:b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algn="ctr"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Maßnahmenergänzung durch andere Instrumente (z. B. Förderung, gesetzliche Vorgaben, Investitionen privater Akteure).</a:t>
            </a:r>
            <a:endParaRPr 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BDF1673-1D09-AD03-B354-A8517C22A5BC}"/>
              </a:ext>
            </a:extLst>
          </p:cNvPr>
          <p:cNvSpPr/>
          <p:nvPr/>
        </p:nvSpPr>
        <p:spPr>
          <a:xfrm>
            <a:off x="4421502" y="3573638"/>
            <a:ext cx="3359631" cy="25557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eine Detailplanung auf Gebäudeebene! </a:t>
            </a:r>
            <a:br>
              <a:rPr kumimoji="0" lang="de-DE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Die Planung erfolgt auf Gebiets- oder Quartiersebene, nicht für jedes einzelne Gebäude.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737CFD8-0350-F665-A670-258F2F63A60E}"/>
              </a:ext>
            </a:extLst>
          </p:cNvPr>
          <p:cNvSpPr/>
          <p:nvPr/>
        </p:nvSpPr>
        <p:spPr>
          <a:xfrm>
            <a:off x="8076242" y="3573638"/>
            <a:ext cx="3359631" cy="25557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eine Rechtverbindlichkeit zur Umsetzung!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endParaRPr 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Individuelle Maßnahmen (z. B. Heizungstausch in einem Wohnhaus) stehen jeder/m Eigentümer/in frei, unabhängig vom eingeteilten Teilgebiet.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F614009-5702-0100-7E7B-3800339B6C9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D93E422-C970-D69C-7CDB-C65B2675084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3937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2AD276-4EB1-262C-C17F-0FD850143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928" y="549275"/>
            <a:ext cx="9286471" cy="917835"/>
          </a:xfrm>
        </p:spPr>
        <p:txBody>
          <a:bodyPr/>
          <a:lstStyle/>
          <a:p>
            <a:r>
              <a:rPr lang="de-DE"/>
              <a:t>GEG-Pflichten betreffen Neubauten &amp; Tausch</a:t>
            </a:r>
            <a:br>
              <a:rPr lang="de-DE"/>
            </a:br>
            <a:r>
              <a:rPr lang="de-DE" sz="2400"/>
              <a:t>Der Bestand bleibt vorerst unberühr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D67C18-D0A9-A705-8FC4-157D30FB60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A4B4F8-CEF9-1906-C930-1AA2B1FC582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0E6194F-C116-34C4-9410-994844130C26}"/>
              </a:ext>
            </a:extLst>
          </p:cNvPr>
          <p:cNvSpPr txBox="1"/>
          <p:nvPr/>
        </p:nvSpPr>
        <p:spPr>
          <a:xfrm>
            <a:off x="1559704" y="4988341"/>
            <a:ext cx="81139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600" b="1"/>
              <a:t>Welche Optionen zum Heizen bleiben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77009FD-BB1E-3123-6FD2-631E4C934B0C}"/>
              </a:ext>
            </a:extLst>
          </p:cNvPr>
          <p:cNvSpPr/>
          <p:nvPr/>
        </p:nvSpPr>
        <p:spPr>
          <a:xfrm>
            <a:off x="766763" y="1989138"/>
            <a:ext cx="3454363" cy="1996931"/>
          </a:xfrm>
          <a:prstGeom prst="rect">
            <a:avLst/>
          </a:prstGeom>
          <a:solidFill>
            <a:schemeClr val="accent2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de-DE" b="1">
                <a:solidFill>
                  <a:srgbClr val="FDC300"/>
                </a:solidFill>
              </a:rPr>
              <a:t>Bestehende Heizungsanlagen </a:t>
            </a:r>
          </a:p>
          <a:p>
            <a:pPr algn="ctr">
              <a:lnSpc>
                <a:spcPct val="110000"/>
              </a:lnSpc>
            </a:pPr>
            <a:endParaRPr lang="de-DE" b="1">
              <a:solidFill>
                <a:schemeClr val="bg1"/>
              </a:solidFill>
            </a:endParaRPr>
          </a:p>
          <a:p>
            <a:pPr algn="ctr">
              <a:lnSpc>
                <a:spcPct val="110000"/>
              </a:lnSpc>
            </a:pPr>
            <a:r>
              <a:rPr lang="de-DE">
                <a:solidFill>
                  <a:schemeClr val="bg1"/>
                </a:solidFill>
              </a:rPr>
              <a:t>dürfen höchstens bis zum </a:t>
            </a:r>
          </a:p>
          <a:p>
            <a:pPr algn="ctr">
              <a:lnSpc>
                <a:spcPct val="110000"/>
              </a:lnSpc>
            </a:pPr>
            <a:r>
              <a:rPr lang="de-DE" b="1">
                <a:solidFill>
                  <a:schemeClr val="bg1"/>
                </a:solidFill>
              </a:rPr>
              <a:t>31. Dezember 2044 mit fossilen </a:t>
            </a:r>
            <a:r>
              <a:rPr lang="de-DE">
                <a:solidFill>
                  <a:schemeClr val="bg1"/>
                </a:solidFill>
              </a:rPr>
              <a:t>Brennstoffen betrieben werd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847646D-E803-1FFE-A1D4-505EFB4F35D9}"/>
              </a:ext>
            </a:extLst>
          </p:cNvPr>
          <p:cNvSpPr/>
          <p:nvPr/>
        </p:nvSpPr>
        <p:spPr>
          <a:xfrm>
            <a:off x="4368819" y="1989136"/>
            <a:ext cx="3454363" cy="1996931"/>
          </a:xfrm>
          <a:prstGeom prst="rect">
            <a:avLst/>
          </a:prstGeom>
          <a:solidFill>
            <a:schemeClr val="accent2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>
                <a:solidFill>
                  <a:srgbClr val="FDC300"/>
                </a:solidFill>
              </a:rPr>
              <a:t>Neue Heizungsanlagen in Neubaugebieten </a:t>
            </a:r>
          </a:p>
          <a:p>
            <a:pPr algn="ctr"/>
            <a:br>
              <a:rPr lang="de-DE" b="1">
                <a:solidFill>
                  <a:schemeClr val="bg1"/>
                </a:solidFill>
              </a:rPr>
            </a:br>
            <a:r>
              <a:rPr lang="de-DE">
                <a:solidFill>
                  <a:schemeClr val="bg1"/>
                </a:solidFill>
              </a:rPr>
              <a:t>haben ab dem 01.01.2024</a:t>
            </a:r>
          </a:p>
          <a:p>
            <a:pPr algn="ctr"/>
            <a:r>
              <a:rPr lang="de-DE">
                <a:solidFill>
                  <a:schemeClr val="bg1"/>
                </a:solidFill>
              </a:rPr>
              <a:t>Pflicht zum Einsatz von </a:t>
            </a:r>
          </a:p>
          <a:p>
            <a:pPr algn="ctr"/>
            <a:r>
              <a:rPr lang="de-DE" b="1">
                <a:solidFill>
                  <a:schemeClr val="bg1"/>
                </a:solidFill>
              </a:rPr>
              <a:t>65% Erneuerbaren Energi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C62E2BD-787F-D6FC-B750-218E9AE76FCE}"/>
              </a:ext>
            </a:extLst>
          </p:cNvPr>
          <p:cNvSpPr/>
          <p:nvPr/>
        </p:nvSpPr>
        <p:spPr>
          <a:xfrm>
            <a:off x="7970874" y="1987994"/>
            <a:ext cx="3454363" cy="1996931"/>
          </a:xfrm>
          <a:prstGeom prst="rect">
            <a:avLst/>
          </a:prstGeom>
          <a:solidFill>
            <a:schemeClr val="accent2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>
                <a:solidFill>
                  <a:srgbClr val="FDC300"/>
                </a:solidFill>
              </a:rPr>
              <a:t>Neue Heizungsanlagen in Bestandsgebieten</a:t>
            </a:r>
          </a:p>
          <a:p>
            <a:pPr algn="ctr"/>
            <a:endParaRPr lang="de-DE" sz="1050">
              <a:solidFill>
                <a:schemeClr val="bg1"/>
              </a:solidFill>
            </a:endParaRPr>
          </a:p>
          <a:p>
            <a:pPr algn="ctr"/>
            <a:r>
              <a:rPr lang="de-DE">
                <a:solidFill>
                  <a:schemeClr val="bg1"/>
                </a:solidFill>
              </a:rPr>
              <a:t>Pflicht zum Einsatz von </a:t>
            </a:r>
          </a:p>
          <a:p>
            <a:pPr algn="ctr"/>
            <a:r>
              <a:rPr lang="de-DE" b="1">
                <a:solidFill>
                  <a:schemeClr val="bg1"/>
                </a:solidFill>
              </a:rPr>
              <a:t>65% Erneuerbaren Energien</a:t>
            </a:r>
          </a:p>
          <a:p>
            <a:pPr algn="ctr"/>
            <a:r>
              <a:rPr lang="de-DE">
                <a:solidFill>
                  <a:schemeClr val="bg1"/>
                </a:solidFill>
              </a:rPr>
              <a:t>ab 30.06.2028 </a:t>
            </a:r>
          </a:p>
          <a:p>
            <a:pPr algn="ctr"/>
            <a:r>
              <a:rPr lang="de-DE" sz="1600">
                <a:solidFill>
                  <a:schemeClr val="bg1"/>
                </a:solidFill>
              </a:rPr>
              <a:t>(unabhängig von der Wärmeplanung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D0D0A1E-DE1C-6617-CBB3-330262AA5AF4}"/>
              </a:ext>
            </a:extLst>
          </p:cNvPr>
          <p:cNvSpPr/>
          <p:nvPr/>
        </p:nvSpPr>
        <p:spPr>
          <a:xfrm rot="5400000">
            <a:off x="6073140" y="-1138413"/>
            <a:ext cx="45719" cy="1065847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DD0C716-A351-34FB-1DDC-A01BA5F24A7D}"/>
              </a:ext>
            </a:extLst>
          </p:cNvPr>
          <p:cNvSpPr txBox="1"/>
          <p:nvPr/>
        </p:nvSpPr>
        <p:spPr>
          <a:xfrm>
            <a:off x="9531107" y="3912168"/>
            <a:ext cx="1101190" cy="25545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de-DE" sz="16600" b="1">
                <a:solidFill>
                  <a:srgbClr val="FDC300"/>
                </a:solidFill>
              </a:rPr>
              <a:t>?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45D4645-0032-609C-6133-A62937E437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8641DF3-47D4-5FA2-8900-3C1B66BF37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3057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A62C87A-1C77-53EA-0733-84DBC93A59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3DE0E8-FA0D-FEDC-4FF7-13F0715D1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928" y="549275"/>
            <a:ext cx="9286471" cy="917835"/>
          </a:xfrm>
        </p:spPr>
        <p:txBody>
          <a:bodyPr/>
          <a:lstStyle/>
          <a:p>
            <a:r>
              <a:rPr lang="de-DE" sz="2400" i="0">
                <a:solidFill>
                  <a:srgbClr val="009BA4"/>
                </a:solidFill>
                <a:latin typeface="Innogy Medium"/>
              </a:rPr>
              <a:t>Aussicht Gebäudemodernisierungsgesetz</a:t>
            </a:r>
            <a:br>
              <a:rPr lang="de-DE" sz="2400" i="0">
                <a:solidFill>
                  <a:srgbClr val="009BA4"/>
                </a:solidFill>
                <a:latin typeface="Innogy Medium"/>
              </a:rPr>
            </a:br>
            <a:r>
              <a:rPr lang="de-DE" sz="2400" b="1" i="0">
                <a:solidFill>
                  <a:srgbClr val="009BA4"/>
                </a:solidFill>
                <a:latin typeface="Innogy Medium"/>
              </a:rPr>
              <a:t>Was ändert sich zum GEG?</a:t>
            </a:r>
            <a:endParaRPr lang="en-US" b="1" i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47734BE-B4B4-9DE3-266D-3F4B69ED6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288854" y="6192710"/>
            <a:ext cx="2136383" cy="184666"/>
          </a:xfrm>
        </p:spPr>
        <p:txBody>
          <a:bodyPr/>
          <a:lstStyle/>
          <a:p>
            <a:fld id="{04D100B3-F0E5-314B-8707-762A8B7A5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37D160-830C-A29A-DFE5-25440F824C7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66761" y="6192710"/>
            <a:ext cx="5329238" cy="184666"/>
          </a:xfrm>
        </p:spPr>
        <p:txBody>
          <a:bodyPr/>
          <a:lstStyle/>
          <a:p>
            <a:r>
              <a:rPr lang="de-DE"/>
              <a:t>Syna GmbH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5555BEA-A3AC-89F2-7748-458B4E036F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3771D182-B55D-66E9-877C-885232581372}"/>
              </a:ext>
            </a:extLst>
          </p:cNvPr>
          <p:cNvSpPr/>
          <p:nvPr/>
        </p:nvSpPr>
        <p:spPr>
          <a:xfrm>
            <a:off x="766762" y="1992957"/>
            <a:ext cx="3454363" cy="1996931"/>
          </a:xfrm>
          <a:prstGeom prst="rect">
            <a:avLst/>
          </a:prstGeom>
          <a:solidFill>
            <a:srgbClr val="52BBB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de-DE" sz="2000" b="1">
                <a:solidFill>
                  <a:srgbClr val="FDC75F"/>
                </a:solidFill>
              </a:rPr>
              <a:t>Bestehende Heizungsanlagen </a:t>
            </a:r>
          </a:p>
          <a:p>
            <a:pPr algn="ctr">
              <a:lnSpc>
                <a:spcPct val="110000"/>
              </a:lnSpc>
            </a:pPr>
            <a:endParaRPr lang="de-DE" b="1">
              <a:solidFill>
                <a:schemeClr val="bg1"/>
              </a:solidFill>
            </a:endParaRPr>
          </a:p>
          <a:p>
            <a:pPr algn="ctr">
              <a:lnSpc>
                <a:spcPct val="110000"/>
              </a:lnSpc>
            </a:pPr>
            <a:r>
              <a:rPr lang="de-DE">
                <a:solidFill>
                  <a:schemeClr val="bg1"/>
                </a:solidFill>
              </a:rPr>
              <a:t>dürfen höchstens bis zum </a:t>
            </a:r>
          </a:p>
          <a:p>
            <a:pPr algn="ctr">
              <a:lnSpc>
                <a:spcPct val="110000"/>
              </a:lnSpc>
            </a:pPr>
            <a:r>
              <a:rPr lang="de-DE" b="1">
                <a:solidFill>
                  <a:schemeClr val="bg1"/>
                </a:solidFill>
              </a:rPr>
              <a:t>31. Dezember 2044 mit fossilen </a:t>
            </a:r>
            <a:r>
              <a:rPr lang="de-DE">
                <a:solidFill>
                  <a:schemeClr val="bg1"/>
                </a:solidFill>
              </a:rPr>
              <a:t>Brennstoffen betrieben werd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75EEA5-9AA9-1F61-9747-260C89A540AD}"/>
              </a:ext>
            </a:extLst>
          </p:cNvPr>
          <p:cNvSpPr/>
          <p:nvPr/>
        </p:nvSpPr>
        <p:spPr>
          <a:xfrm>
            <a:off x="4368818" y="1992955"/>
            <a:ext cx="3454363" cy="1996931"/>
          </a:xfrm>
          <a:prstGeom prst="rect">
            <a:avLst/>
          </a:prstGeom>
          <a:solidFill>
            <a:srgbClr val="52BBB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DC75F"/>
                </a:solidFill>
              </a:rPr>
              <a:t>Neue Heizungsanlagen in Neubaugebieten </a:t>
            </a:r>
          </a:p>
          <a:p>
            <a:pPr algn="ctr"/>
            <a:br>
              <a:rPr lang="de-DE" b="1">
                <a:solidFill>
                  <a:schemeClr val="bg1"/>
                </a:solidFill>
              </a:rPr>
            </a:br>
            <a:r>
              <a:rPr lang="de-DE">
                <a:solidFill>
                  <a:schemeClr val="bg1"/>
                </a:solidFill>
              </a:rPr>
              <a:t>haben ab dem 01.01.2024</a:t>
            </a:r>
          </a:p>
          <a:p>
            <a:pPr algn="ctr"/>
            <a:r>
              <a:rPr lang="de-DE">
                <a:solidFill>
                  <a:schemeClr val="bg1"/>
                </a:solidFill>
              </a:rPr>
              <a:t>Pflicht zum Einsatz von </a:t>
            </a:r>
          </a:p>
          <a:p>
            <a:pPr algn="ctr"/>
            <a:r>
              <a:rPr lang="de-DE" b="1">
                <a:solidFill>
                  <a:schemeClr val="bg1"/>
                </a:solidFill>
              </a:rPr>
              <a:t>65% Erneuerbaren Energi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D04150B-FB98-54A7-BBA1-CD2FBF1842C9}"/>
              </a:ext>
            </a:extLst>
          </p:cNvPr>
          <p:cNvSpPr/>
          <p:nvPr/>
        </p:nvSpPr>
        <p:spPr>
          <a:xfrm>
            <a:off x="7970873" y="1991813"/>
            <a:ext cx="3454363" cy="1996931"/>
          </a:xfrm>
          <a:prstGeom prst="rect">
            <a:avLst/>
          </a:prstGeom>
          <a:solidFill>
            <a:srgbClr val="52BBB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DC75F"/>
                </a:solidFill>
              </a:rPr>
              <a:t>Neue Heizungsanlagen in Bestandsgebieten</a:t>
            </a:r>
          </a:p>
          <a:p>
            <a:pPr algn="ctr"/>
            <a:endParaRPr lang="de-DE" sz="1050">
              <a:solidFill>
                <a:schemeClr val="bg1"/>
              </a:solidFill>
            </a:endParaRPr>
          </a:p>
          <a:p>
            <a:pPr algn="ctr"/>
            <a:r>
              <a:rPr lang="de-DE">
                <a:solidFill>
                  <a:schemeClr val="bg1"/>
                </a:solidFill>
              </a:rPr>
              <a:t>Pflicht zum Einsatz von </a:t>
            </a:r>
          </a:p>
          <a:p>
            <a:pPr algn="ctr"/>
            <a:r>
              <a:rPr lang="de-DE" b="1">
                <a:solidFill>
                  <a:schemeClr val="bg1"/>
                </a:solidFill>
              </a:rPr>
              <a:t>65% Erneuerbaren Energien</a:t>
            </a:r>
          </a:p>
          <a:p>
            <a:pPr algn="ctr"/>
            <a:r>
              <a:rPr lang="de-DE">
                <a:solidFill>
                  <a:schemeClr val="bg1"/>
                </a:solidFill>
              </a:rPr>
              <a:t>ab 30.06.2028 </a:t>
            </a:r>
          </a:p>
          <a:p>
            <a:pPr algn="ctr"/>
            <a:r>
              <a:rPr lang="de-DE" sz="1600">
                <a:solidFill>
                  <a:schemeClr val="bg1"/>
                </a:solidFill>
              </a:rPr>
              <a:t>(unabhängig von der Wärmeplanung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A3CF4C8-4C7F-D840-128A-3C090D53775F}"/>
              </a:ext>
            </a:extLst>
          </p:cNvPr>
          <p:cNvSpPr/>
          <p:nvPr/>
        </p:nvSpPr>
        <p:spPr>
          <a:xfrm>
            <a:off x="766761" y="4222949"/>
            <a:ext cx="3454363" cy="1996931"/>
          </a:xfrm>
          <a:prstGeom prst="rect">
            <a:avLst/>
          </a:prstGeom>
          <a:solidFill>
            <a:srgbClr val="52BBB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de-DE" sz="2000" b="1">
                <a:solidFill>
                  <a:srgbClr val="FDC75F"/>
                </a:solidFill>
              </a:rPr>
              <a:t>Bestehende Heizungsanlagen </a:t>
            </a:r>
          </a:p>
          <a:p>
            <a:pPr algn="ctr">
              <a:lnSpc>
                <a:spcPct val="110000"/>
              </a:lnSpc>
            </a:pPr>
            <a:endParaRPr lang="de-DE" b="1">
              <a:solidFill>
                <a:schemeClr val="bg1"/>
              </a:solidFill>
            </a:endParaRPr>
          </a:p>
          <a:p>
            <a:pPr algn="ctr">
              <a:lnSpc>
                <a:spcPct val="110000"/>
              </a:lnSpc>
            </a:pPr>
            <a:r>
              <a:rPr lang="de-DE">
                <a:solidFill>
                  <a:schemeClr val="bg1"/>
                </a:solidFill>
              </a:rPr>
              <a:t>Das </a:t>
            </a:r>
            <a:r>
              <a:rPr lang="de-DE" b="1">
                <a:solidFill>
                  <a:schemeClr val="bg1"/>
                </a:solidFill>
              </a:rPr>
              <a:t>Verbot</a:t>
            </a:r>
            <a:r>
              <a:rPr lang="de-DE">
                <a:solidFill>
                  <a:schemeClr val="bg1"/>
                </a:solidFill>
              </a:rPr>
              <a:t> für den Einsatz fossiler Brennstoffe </a:t>
            </a:r>
            <a:r>
              <a:rPr lang="de-DE" b="1">
                <a:solidFill>
                  <a:schemeClr val="bg1"/>
                </a:solidFill>
              </a:rPr>
              <a:t>entfällt</a:t>
            </a:r>
          </a:p>
          <a:p>
            <a:pPr algn="ctr">
              <a:lnSpc>
                <a:spcPct val="110000"/>
              </a:lnSpc>
            </a:pP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2DCFEA1-394E-2B66-4C3A-7F3A33BA7C26}"/>
              </a:ext>
            </a:extLst>
          </p:cNvPr>
          <p:cNvSpPr/>
          <p:nvPr/>
        </p:nvSpPr>
        <p:spPr>
          <a:xfrm>
            <a:off x="4368817" y="4222947"/>
            <a:ext cx="3454363" cy="1996931"/>
          </a:xfrm>
          <a:prstGeom prst="rect">
            <a:avLst/>
          </a:prstGeom>
          <a:solidFill>
            <a:srgbClr val="52BBB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DC75F"/>
                </a:solidFill>
              </a:rPr>
              <a:t>Neue Heizungsanlagen</a:t>
            </a:r>
          </a:p>
          <a:p>
            <a:pPr algn="ctr"/>
            <a:br>
              <a:rPr lang="de-DE" b="1">
                <a:solidFill>
                  <a:schemeClr val="bg1"/>
                </a:solidFill>
              </a:rPr>
            </a:br>
            <a:r>
              <a:rPr lang="de-DE">
                <a:solidFill>
                  <a:schemeClr val="bg1"/>
                </a:solidFill>
              </a:rPr>
              <a:t>Gas- sowie Ölheizungen dürfen weiterhin eingebaut werden</a:t>
            </a:r>
          </a:p>
          <a:p>
            <a:pPr algn="ctr"/>
            <a:r>
              <a:rPr lang="de-DE" b="1">
                <a:solidFill>
                  <a:schemeClr val="bg1"/>
                </a:solidFill>
              </a:rPr>
              <a:t>Ab 1. Januar 2029 gilt eine       „Bio-Treppe“ (10% ab 2029)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F0095DB-CB57-4A1F-483F-3C2FC45F3509}"/>
              </a:ext>
            </a:extLst>
          </p:cNvPr>
          <p:cNvSpPr/>
          <p:nvPr/>
        </p:nvSpPr>
        <p:spPr>
          <a:xfrm>
            <a:off x="7970872" y="4221805"/>
            <a:ext cx="3454363" cy="1996931"/>
          </a:xfrm>
          <a:prstGeom prst="rect">
            <a:avLst/>
          </a:prstGeom>
          <a:solidFill>
            <a:srgbClr val="52BBB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DC75F"/>
                </a:solidFill>
              </a:rPr>
              <a:t>Energiemix fossiler Optionen</a:t>
            </a:r>
          </a:p>
          <a:p>
            <a:pPr algn="ctr"/>
            <a:endParaRPr lang="de-DE" sz="1050">
              <a:solidFill>
                <a:schemeClr val="bg1"/>
              </a:solidFill>
            </a:endParaRPr>
          </a:p>
          <a:p>
            <a:pPr algn="ctr"/>
            <a:r>
              <a:rPr lang="de-DE">
                <a:solidFill>
                  <a:schemeClr val="bg1"/>
                </a:solidFill>
              </a:rPr>
              <a:t>Energieversorger werden verpflichtet, grüne Gase    sukzessive im Mix zu steigern </a:t>
            </a:r>
          </a:p>
          <a:p>
            <a:pPr algn="ctr"/>
            <a:r>
              <a:rPr lang="de-DE" b="1">
                <a:solidFill>
                  <a:schemeClr val="bg1"/>
                </a:solidFill>
              </a:rPr>
              <a:t>1% ab 2028</a:t>
            </a:r>
            <a:endParaRPr lang="de-DE" sz="1600" b="1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69DD1DB-EB4B-9E33-39FF-085A8047938D}"/>
              </a:ext>
            </a:extLst>
          </p:cNvPr>
          <p:cNvSpPr/>
          <p:nvPr/>
        </p:nvSpPr>
        <p:spPr>
          <a:xfrm>
            <a:off x="766764" y="2025832"/>
            <a:ext cx="3454363" cy="1996931"/>
          </a:xfrm>
          <a:prstGeom prst="rect">
            <a:avLst/>
          </a:prstGeom>
          <a:solidFill>
            <a:srgbClr val="52BBB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de-DE" sz="2000" b="1">
                <a:solidFill>
                  <a:srgbClr val="FDC75F"/>
                </a:solidFill>
              </a:rPr>
              <a:t>Bestehende Heizungsanlagen </a:t>
            </a:r>
          </a:p>
          <a:p>
            <a:pPr algn="ctr">
              <a:lnSpc>
                <a:spcPct val="110000"/>
              </a:lnSpc>
            </a:pPr>
            <a:endParaRPr lang="de-DE" b="1">
              <a:solidFill>
                <a:schemeClr val="bg1"/>
              </a:solidFill>
            </a:endParaRPr>
          </a:p>
          <a:p>
            <a:pPr algn="ctr">
              <a:lnSpc>
                <a:spcPct val="110000"/>
              </a:lnSpc>
            </a:pPr>
            <a:r>
              <a:rPr lang="de-DE">
                <a:solidFill>
                  <a:schemeClr val="bg1"/>
                </a:solidFill>
              </a:rPr>
              <a:t>dürfen höchstens bis zum </a:t>
            </a:r>
          </a:p>
          <a:p>
            <a:pPr algn="ctr">
              <a:lnSpc>
                <a:spcPct val="110000"/>
              </a:lnSpc>
            </a:pPr>
            <a:r>
              <a:rPr lang="de-DE" b="1">
                <a:solidFill>
                  <a:schemeClr val="bg1"/>
                </a:solidFill>
              </a:rPr>
              <a:t>31. Dezember 2044 mit fossilen </a:t>
            </a:r>
            <a:r>
              <a:rPr lang="de-DE">
                <a:solidFill>
                  <a:schemeClr val="bg1"/>
                </a:solidFill>
              </a:rPr>
              <a:t>Brennstoffen betrieben werden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20333791-691C-9705-C925-F29F17C3197C}"/>
              </a:ext>
            </a:extLst>
          </p:cNvPr>
          <p:cNvSpPr/>
          <p:nvPr/>
        </p:nvSpPr>
        <p:spPr>
          <a:xfrm>
            <a:off x="4368820" y="2025830"/>
            <a:ext cx="3454363" cy="1996931"/>
          </a:xfrm>
          <a:prstGeom prst="rect">
            <a:avLst/>
          </a:prstGeom>
          <a:solidFill>
            <a:srgbClr val="52BBB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DC75F"/>
                </a:solidFill>
              </a:rPr>
              <a:t>Neue Heizungsanlagen in Neubaugebieten </a:t>
            </a:r>
          </a:p>
          <a:p>
            <a:pPr algn="ctr"/>
            <a:br>
              <a:rPr lang="de-DE" b="1">
                <a:solidFill>
                  <a:schemeClr val="bg1"/>
                </a:solidFill>
              </a:rPr>
            </a:br>
            <a:r>
              <a:rPr lang="de-DE">
                <a:solidFill>
                  <a:schemeClr val="bg1"/>
                </a:solidFill>
              </a:rPr>
              <a:t>haben ab dem 01.01.2024</a:t>
            </a:r>
          </a:p>
          <a:p>
            <a:pPr algn="ctr"/>
            <a:r>
              <a:rPr lang="de-DE">
                <a:solidFill>
                  <a:schemeClr val="bg1"/>
                </a:solidFill>
              </a:rPr>
              <a:t>Pflicht zum Einsatz von </a:t>
            </a:r>
          </a:p>
          <a:p>
            <a:pPr algn="ctr"/>
            <a:r>
              <a:rPr lang="de-DE" b="1">
                <a:solidFill>
                  <a:schemeClr val="bg1"/>
                </a:solidFill>
              </a:rPr>
              <a:t>65% Erneuerbaren Energie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3EBF45D-1344-10A6-9969-52DDBC011CDC}"/>
              </a:ext>
            </a:extLst>
          </p:cNvPr>
          <p:cNvSpPr/>
          <p:nvPr/>
        </p:nvSpPr>
        <p:spPr>
          <a:xfrm>
            <a:off x="7970875" y="2024688"/>
            <a:ext cx="3454363" cy="1996931"/>
          </a:xfrm>
          <a:prstGeom prst="rect">
            <a:avLst/>
          </a:prstGeom>
          <a:solidFill>
            <a:srgbClr val="52BBB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DC75F"/>
                </a:solidFill>
              </a:rPr>
              <a:t>Neue Heizungsanlagen in Bestandsgebieten</a:t>
            </a:r>
          </a:p>
          <a:p>
            <a:pPr algn="ctr"/>
            <a:endParaRPr lang="de-DE" sz="1050">
              <a:solidFill>
                <a:schemeClr val="bg1"/>
              </a:solidFill>
            </a:endParaRPr>
          </a:p>
          <a:p>
            <a:pPr algn="ctr"/>
            <a:r>
              <a:rPr lang="de-DE">
                <a:solidFill>
                  <a:schemeClr val="bg1"/>
                </a:solidFill>
              </a:rPr>
              <a:t>Pflicht zum Einsatz von </a:t>
            </a:r>
          </a:p>
          <a:p>
            <a:pPr algn="ctr"/>
            <a:r>
              <a:rPr lang="de-DE" b="1">
                <a:solidFill>
                  <a:schemeClr val="bg1"/>
                </a:solidFill>
              </a:rPr>
              <a:t>65% Erneuerbaren Energien</a:t>
            </a:r>
          </a:p>
          <a:p>
            <a:pPr algn="ctr"/>
            <a:r>
              <a:rPr lang="de-DE">
                <a:solidFill>
                  <a:schemeClr val="bg1"/>
                </a:solidFill>
              </a:rPr>
              <a:t>ab 30.06.2028 </a:t>
            </a:r>
          </a:p>
          <a:p>
            <a:pPr algn="ctr"/>
            <a:r>
              <a:rPr lang="de-DE" sz="1600">
                <a:solidFill>
                  <a:schemeClr val="bg1"/>
                </a:solidFill>
              </a:rPr>
              <a:t>(unabhängig von der Wärmeplanung)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DFB6937-D895-75E4-2AFA-92A330643993}"/>
              </a:ext>
            </a:extLst>
          </p:cNvPr>
          <p:cNvSpPr/>
          <p:nvPr/>
        </p:nvSpPr>
        <p:spPr>
          <a:xfrm>
            <a:off x="766763" y="4255824"/>
            <a:ext cx="3454363" cy="1996931"/>
          </a:xfrm>
          <a:prstGeom prst="rect">
            <a:avLst/>
          </a:prstGeom>
          <a:solidFill>
            <a:srgbClr val="52BBB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de-DE" sz="2000" b="1">
                <a:solidFill>
                  <a:srgbClr val="FDC75F"/>
                </a:solidFill>
              </a:rPr>
              <a:t>Bestehende Heizungsanlagen </a:t>
            </a:r>
          </a:p>
          <a:p>
            <a:pPr algn="ctr">
              <a:lnSpc>
                <a:spcPct val="110000"/>
              </a:lnSpc>
            </a:pPr>
            <a:endParaRPr lang="de-DE" b="1">
              <a:solidFill>
                <a:schemeClr val="bg1"/>
              </a:solidFill>
            </a:endParaRPr>
          </a:p>
          <a:p>
            <a:pPr algn="ctr">
              <a:lnSpc>
                <a:spcPct val="110000"/>
              </a:lnSpc>
            </a:pPr>
            <a:r>
              <a:rPr lang="de-DE">
                <a:solidFill>
                  <a:schemeClr val="bg1"/>
                </a:solidFill>
              </a:rPr>
              <a:t>Das </a:t>
            </a:r>
            <a:r>
              <a:rPr lang="de-DE" b="1">
                <a:solidFill>
                  <a:schemeClr val="bg1"/>
                </a:solidFill>
              </a:rPr>
              <a:t>Verbot</a:t>
            </a:r>
            <a:r>
              <a:rPr lang="de-DE">
                <a:solidFill>
                  <a:schemeClr val="bg1"/>
                </a:solidFill>
              </a:rPr>
              <a:t> für den Einsatz fossiler Brennstoffe </a:t>
            </a:r>
            <a:r>
              <a:rPr lang="de-DE" b="1">
                <a:solidFill>
                  <a:schemeClr val="bg1"/>
                </a:solidFill>
              </a:rPr>
              <a:t>entfällt</a:t>
            </a:r>
          </a:p>
          <a:p>
            <a:pPr algn="ctr">
              <a:lnSpc>
                <a:spcPct val="110000"/>
              </a:lnSpc>
            </a:pP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B8D5D59-C04E-F49D-7D0B-80E742BB027D}"/>
              </a:ext>
            </a:extLst>
          </p:cNvPr>
          <p:cNvSpPr/>
          <p:nvPr/>
        </p:nvSpPr>
        <p:spPr>
          <a:xfrm>
            <a:off x="4368819" y="4255822"/>
            <a:ext cx="3454363" cy="1996931"/>
          </a:xfrm>
          <a:prstGeom prst="rect">
            <a:avLst/>
          </a:prstGeom>
          <a:solidFill>
            <a:srgbClr val="52BBB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DC75F"/>
                </a:solidFill>
              </a:rPr>
              <a:t>Neue Heizungsanlagen</a:t>
            </a:r>
          </a:p>
          <a:p>
            <a:pPr algn="ctr"/>
            <a:br>
              <a:rPr lang="de-DE" b="1">
                <a:solidFill>
                  <a:schemeClr val="bg1"/>
                </a:solidFill>
              </a:rPr>
            </a:br>
            <a:r>
              <a:rPr lang="de-DE">
                <a:solidFill>
                  <a:schemeClr val="bg1"/>
                </a:solidFill>
              </a:rPr>
              <a:t>Gas- sowie Ölheizungen dürfen weiterhin eingebaut werden</a:t>
            </a:r>
          </a:p>
          <a:p>
            <a:pPr algn="ctr"/>
            <a:r>
              <a:rPr lang="de-DE" b="1">
                <a:solidFill>
                  <a:schemeClr val="bg1"/>
                </a:solidFill>
              </a:rPr>
              <a:t>Ab 1. Januar 2029 gilt eine       „Bio-Treppe“ (10% ab 2029)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E1F2B88-02AA-7234-5574-1C570D6E87CE}"/>
              </a:ext>
            </a:extLst>
          </p:cNvPr>
          <p:cNvSpPr/>
          <p:nvPr/>
        </p:nvSpPr>
        <p:spPr>
          <a:xfrm>
            <a:off x="7970874" y="4254680"/>
            <a:ext cx="3454363" cy="1996931"/>
          </a:xfrm>
          <a:prstGeom prst="rect">
            <a:avLst/>
          </a:prstGeom>
          <a:solidFill>
            <a:srgbClr val="52BBB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DC75F"/>
                </a:solidFill>
              </a:rPr>
              <a:t>Energiemix fossiler Optionen</a:t>
            </a:r>
          </a:p>
          <a:p>
            <a:pPr algn="ctr"/>
            <a:endParaRPr lang="de-DE" sz="1050">
              <a:solidFill>
                <a:schemeClr val="bg1"/>
              </a:solidFill>
            </a:endParaRPr>
          </a:p>
          <a:p>
            <a:pPr algn="ctr"/>
            <a:r>
              <a:rPr lang="de-DE">
                <a:solidFill>
                  <a:schemeClr val="bg1"/>
                </a:solidFill>
              </a:rPr>
              <a:t>Energieversorger werden verpflichtet, grüne Gase    sukzessive im Mix zu steigern </a:t>
            </a:r>
          </a:p>
          <a:p>
            <a:pPr algn="ctr"/>
            <a:r>
              <a:rPr lang="de-DE" b="1">
                <a:solidFill>
                  <a:schemeClr val="bg1"/>
                </a:solidFill>
              </a:rPr>
              <a:t>1% ab 2028</a:t>
            </a:r>
            <a:endParaRPr lang="de-DE" sz="1600" b="1">
              <a:solidFill>
                <a:schemeClr val="bg1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FB1E52DD-17C9-E4EB-C293-695DDEBE073B}"/>
              </a:ext>
            </a:extLst>
          </p:cNvPr>
          <p:cNvCxnSpPr/>
          <p:nvPr/>
        </p:nvCxnSpPr>
        <p:spPr>
          <a:xfrm flipH="1">
            <a:off x="766762" y="1896627"/>
            <a:ext cx="3602056" cy="2231136"/>
          </a:xfrm>
          <a:prstGeom prst="line">
            <a:avLst/>
          </a:prstGeom>
          <a:ln w="63500">
            <a:solidFill>
              <a:srgbClr val="E50056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6C36BF8F-D9F7-7F23-DEDF-69A1B467C7E8}"/>
              </a:ext>
            </a:extLst>
          </p:cNvPr>
          <p:cNvCxnSpPr>
            <a:cxnSpLocks/>
          </p:cNvCxnSpPr>
          <p:nvPr/>
        </p:nvCxnSpPr>
        <p:spPr>
          <a:xfrm flipH="1">
            <a:off x="4221124" y="1896627"/>
            <a:ext cx="3749749" cy="2209219"/>
          </a:xfrm>
          <a:prstGeom prst="line">
            <a:avLst/>
          </a:prstGeom>
          <a:ln w="63500">
            <a:solidFill>
              <a:srgbClr val="E50056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6918C222-F1D4-7F89-887E-D6E6437B6B48}"/>
              </a:ext>
            </a:extLst>
          </p:cNvPr>
          <p:cNvCxnSpPr>
            <a:cxnSpLocks/>
          </p:cNvCxnSpPr>
          <p:nvPr/>
        </p:nvCxnSpPr>
        <p:spPr>
          <a:xfrm flipH="1">
            <a:off x="7823180" y="1896627"/>
            <a:ext cx="3679327" cy="2187302"/>
          </a:xfrm>
          <a:prstGeom prst="line">
            <a:avLst/>
          </a:prstGeom>
          <a:ln w="63500">
            <a:solidFill>
              <a:srgbClr val="E50056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C465ED51-9677-BC61-6EBC-BDD1AEFCFA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561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20" grpId="0" animBg="1"/>
      <p:bldP spid="21" grpId="0" animBg="1"/>
      <p:bldP spid="2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0A69C1-F763-5A38-4D09-4DBF48044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olgen der kommunalen Wärmeplanung</a:t>
            </a:r>
            <a:br>
              <a:rPr lang="de-DE"/>
            </a:br>
            <a:r>
              <a:rPr lang="de-DE" sz="2400"/>
              <a:t>Was passiert durch die Verabschiedung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83CA29-BDD4-E95F-077E-415D37B081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4D100B3-F0E5-314B-8707-762A8B7A5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412394-3190-4213-BA6C-9A8D4957576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Syna GmbH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2ACE2E7-0293-5FD3-27FD-480BCECB9F7B}"/>
              </a:ext>
            </a:extLst>
          </p:cNvPr>
          <p:cNvSpPr/>
          <p:nvPr/>
        </p:nvSpPr>
        <p:spPr>
          <a:xfrm>
            <a:off x="764378" y="2267606"/>
            <a:ext cx="3376611" cy="1582737"/>
          </a:xfrm>
          <a:prstGeom prst="rect">
            <a:avLst/>
          </a:prstGeom>
          <a:solidFill>
            <a:schemeClr val="accent2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de-DE" sz="2400" b="1">
                <a:solidFill>
                  <a:schemeClr val="bg1"/>
                </a:solidFill>
              </a:rPr>
              <a:t>Verabschiedung der kommunalen Wärmeplanung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BB18AC6-295D-15DD-FC66-066E3E9D58A5}"/>
              </a:ext>
            </a:extLst>
          </p:cNvPr>
          <p:cNvSpPr/>
          <p:nvPr/>
        </p:nvSpPr>
        <p:spPr>
          <a:xfrm>
            <a:off x="4526751" y="2267605"/>
            <a:ext cx="3376611" cy="1582737"/>
          </a:xfrm>
          <a:prstGeom prst="rect">
            <a:avLst/>
          </a:prstGeom>
          <a:solidFill>
            <a:schemeClr val="accent2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de-DE" sz="2400" b="1">
                <a:solidFill>
                  <a:schemeClr val="bg1"/>
                </a:solidFill>
              </a:rPr>
              <a:t>Daraus entsteht </a:t>
            </a:r>
          </a:p>
          <a:p>
            <a:pPr algn="ctr">
              <a:lnSpc>
                <a:spcPct val="110000"/>
              </a:lnSpc>
            </a:pPr>
            <a:r>
              <a:rPr lang="de-DE" sz="2400" b="1">
                <a:solidFill>
                  <a:srgbClr val="FDC300"/>
                </a:solidFill>
              </a:rPr>
              <a:t>keine</a:t>
            </a:r>
            <a:r>
              <a:rPr lang="de-DE" sz="2400" b="1">
                <a:solidFill>
                  <a:schemeClr val="bg1"/>
                </a:solidFill>
              </a:rPr>
              <a:t> </a:t>
            </a:r>
            <a:r>
              <a:rPr lang="de-DE" sz="2400" b="1">
                <a:solidFill>
                  <a:srgbClr val="FDC300"/>
                </a:solidFill>
              </a:rPr>
              <a:t>rechtliche Pflicht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59700648-006D-C31C-E134-DAEA8478A133}"/>
              </a:ext>
            </a:extLst>
          </p:cNvPr>
          <p:cNvSpPr/>
          <p:nvPr/>
        </p:nvSpPr>
        <p:spPr>
          <a:xfrm>
            <a:off x="1081085" y="4492209"/>
            <a:ext cx="2676524" cy="747712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600" b="1">
                <a:solidFill>
                  <a:schemeClr val="bg1"/>
                </a:solidFill>
              </a:rPr>
              <a:t>  Pflicht aus dem WPG </a:t>
            </a:r>
          </a:p>
          <a:p>
            <a:r>
              <a:rPr lang="de-DE" sz="1600" b="1">
                <a:solidFill>
                  <a:schemeClr val="bg1"/>
                </a:solidFill>
              </a:rPr>
              <a:t>  zur Erstellung erfüllt</a:t>
            </a:r>
          </a:p>
        </p:txBody>
      </p:sp>
      <p:pic>
        <p:nvPicPr>
          <p:cNvPr id="10" name="Grafik 9" descr="Abzeichen Tick1 mit einfarbiger Füllung">
            <a:extLst>
              <a:ext uri="{FF2B5EF4-FFF2-40B4-BE49-F238E27FC236}">
                <a16:creationId xmlns:a16="http://schemas.microsoft.com/office/drawing/2014/main" id="{D4C63672-E03A-C3EA-39DA-D3BE0F7387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81334" y="4535070"/>
            <a:ext cx="657225" cy="657225"/>
          </a:xfrm>
          <a:prstGeom prst="rect">
            <a:avLst/>
          </a:prstGeom>
        </p:spPr>
      </p:pic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827B4C8B-689D-8065-7188-6DEE599A8E28}"/>
              </a:ext>
            </a:extLst>
          </p:cNvPr>
          <p:cNvSpPr/>
          <p:nvPr/>
        </p:nvSpPr>
        <p:spPr>
          <a:xfrm>
            <a:off x="4843457" y="4488517"/>
            <a:ext cx="2917033" cy="747712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600" b="1">
                <a:solidFill>
                  <a:schemeClr val="bg1"/>
                </a:solidFill>
              </a:rPr>
              <a:t>  Fundierte Ergebnisse </a:t>
            </a:r>
          </a:p>
          <a:p>
            <a:r>
              <a:rPr lang="de-DE" sz="1600" b="1">
                <a:solidFill>
                  <a:schemeClr val="bg1"/>
                </a:solidFill>
              </a:rPr>
              <a:t>  auf Realdatenbasis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53423725-9410-7E14-FBD4-A94021923C33}"/>
              </a:ext>
            </a:extLst>
          </p:cNvPr>
          <p:cNvSpPr/>
          <p:nvPr/>
        </p:nvSpPr>
        <p:spPr>
          <a:xfrm>
            <a:off x="4843457" y="5388629"/>
            <a:ext cx="2917033" cy="747712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600" b="1">
                <a:solidFill>
                  <a:schemeClr val="bg1"/>
                </a:solidFill>
              </a:rPr>
              <a:t>  Möglichkeit Maßnahmen </a:t>
            </a:r>
          </a:p>
          <a:p>
            <a:r>
              <a:rPr lang="de-DE" sz="1600" b="1">
                <a:solidFill>
                  <a:schemeClr val="bg1"/>
                </a:solidFill>
              </a:rPr>
              <a:t>  politisch zu beschließ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9080B4C-82D6-BD5F-4A37-02CFB117A0CB}"/>
              </a:ext>
            </a:extLst>
          </p:cNvPr>
          <p:cNvSpPr/>
          <p:nvPr/>
        </p:nvSpPr>
        <p:spPr>
          <a:xfrm>
            <a:off x="8289124" y="2267605"/>
            <a:ext cx="3376611" cy="1582737"/>
          </a:xfrm>
          <a:prstGeom prst="rect">
            <a:avLst/>
          </a:prstGeom>
          <a:solidFill>
            <a:schemeClr val="accent2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de-DE" sz="2400" b="1">
                <a:solidFill>
                  <a:schemeClr val="bg1"/>
                </a:solidFill>
              </a:rPr>
              <a:t>Fortschreibung im 5 Jahreszyklus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B60CD5C2-5B08-86B0-5C6E-56AA4F593B25}"/>
              </a:ext>
            </a:extLst>
          </p:cNvPr>
          <p:cNvSpPr/>
          <p:nvPr/>
        </p:nvSpPr>
        <p:spPr>
          <a:xfrm>
            <a:off x="8543321" y="4499352"/>
            <a:ext cx="3122405" cy="747712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600" b="1">
                <a:solidFill>
                  <a:schemeClr val="bg1"/>
                </a:solidFill>
              </a:rPr>
              <a:t>  Pflicht zur Fortschreibung </a:t>
            </a:r>
          </a:p>
          <a:p>
            <a:r>
              <a:rPr lang="de-DE" sz="1600" b="1">
                <a:solidFill>
                  <a:schemeClr val="bg1"/>
                </a:solidFill>
              </a:rPr>
              <a:t>  auf Basis KWP Ergebnisse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0D2F7F45-7B3A-593A-267A-52F3E82DB50D}"/>
              </a:ext>
            </a:extLst>
          </p:cNvPr>
          <p:cNvCxnSpPr/>
          <p:nvPr/>
        </p:nvCxnSpPr>
        <p:spPr>
          <a:xfrm>
            <a:off x="2452683" y="4002743"/>
            <a:ext cx="0" cy="3333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246B9C7B-B2FC-A06A-DDE4-6D75082C6091}"/>
              </a:ext>
            </a:extLst>
          </p:cNvPr>
          <p:cNvCxnSpPr/>
          <p:nvPr/>
        </p:nvCxnSpPr>
        <p:spPr>
          <a:xfrm>
            <a:off x="6203148" y="4002742"/>
            <a:ext cx="0" cy="3333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56A8D020-2103-AD34-EC62-FFB41F14917A}"/>
              </a:ext>
            </a:extLst>
          </p:cNvPr>
          <p:cNvCxnSpPr/>
          <p:nvPr/>
        </p:nvCxnSpPr>
        <p:spPr>
          <a:xfrm>
            <a:off x="10070298" y="4002742"/>
            <a:ext cx="0" cy="3333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1318D3B-AB0E-82A2-714B-1B4FC74A30F0}"/>
              </a:ext>
            </a:extLst>
          </p:cNvPr>
          <p:cNvCxnSpPr>
            <a:cxnSpLocks/>
          </p:cNvCxnSpPr>
          <p:nvPr/>
        </p:nvCxnSpPr>
        <p:spPr>
          <a:xfrm>
            <a:off x="4201711" y="3125648"/>
            <a:ext cx="264318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7A383E2C-60F0-6770-B0DB-711417CCF0C5}"/>
              </a:ext>
            </a:extLst>
          </p:cNvPr>
          <p:cNvCxnSpPr>
            <a:cxnSpLocks/>
          </p:cNvCxnSpPr>
          <p:nvPr/>
        </p:nvCxnSpPr>
        <p:spPr>
          <a:xfrm>
            <a:off x="7964084" y="3125647"/>
            <a:ext cx="264318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23" name="Grafik 22" descr="Zahnräder mit einfarbiger Füllung">
            <a:extLst>
              <a:ext uri="{FF2B5EF4-FFF2-40B4-BE49-F238E27FC236}">
                <a16:creationId xmlns:a16="http://schemas.microsoft.com/office/drawing/2014/main" id="{A283DDB7-A7CB-3032-2A00-F66B285691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86066" y="5443159"/>
            <a:ext cx="645849" cy="645849"/>
          </a:xfrm>
          <a:prstGeom prst="rect">
            <a:avLst/>
          </a:prstGeom>
        </p:spPr>
      </p:pic>
      <p:pic>
        <p:nvPicPr>
          <p:cNvPr id="25" name="Grafik 24" descr="Balkendiagramm mit einfarbiger Füllung">
            <a:extLst>
              <a:ext uri="{FF2B5EF4-FFF2-40B4-BE49-F238E27FC236}">
                <a16:creationId xmlns:a16="http://schemas.microsoft.com/office/drawing/2014/main" id="{02F5CF8A-D633-3C68-B480-5F006018B3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65895" y="4543012"/>
            <a:ext cx="686189" cy="686189"/>
          </a:xfrm>
          <a:prstGeom prst="rect">
            <a:avLst/>
          </a:prstGeom>
        </p:spPr>
      </p:pic>
      <p:pic>
        <p:nvPicPr>
          <p:cNvPr id="27" name="Grafik 26" descr="Wiederholen mit einfarbiger Füllung">
            <a:extLst>
              <a:ext uri="{FF2B5EF4-FFF2-40B4-BE49-F238E27FC236}">
                <a16:creationId xmlns:a16="http://schemas.microsoft.com/office/drawing/2014/main" id="{24B45D09-2D6A-1187-35F0-38112C054B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16123" y="4596521"/>
            <a:ext cx="579172" cy="579172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B3A22995-8D05-2A50-8359-87F0817297A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567070" y="395416"/>
            <a:ext cx="625133" cy="625133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40EEBFF-6926-30E4-283A-6E291978379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683015" y="968753"/>
            <a:ext cx="1646400" cy="7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124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b7548c33-f962-482c-a440-aea1f801b014"/>
</p:tagLst>
</file>

<file path=ppt/theme/theme1.xml><?xml version="1.0" encoding="utf-8"?>
<a:theme xmlns:a="http://schemas.openxmlformats.org/drawingml/2006/main" name="SYNA GmbH Template 2025">
  <a:themeElements>
    <a:clrScheme name="Süwag CD-Farben Bright">
      <a:dk1>
        <a:srgbClr val="000000"/>
      </a:dk1>
      <a:lt1>
        <a:srgbClr val="FFFFFF"/>
      </a:lt1>
      <a:dk2>
        <a:srgbClr val="6A6562"/>
      </a:dk2>
      <a:lt2>
        <a:srgbClr val="DDDBDA"/>
      </a:lt2>
      <a:accent1>
        <a:srgbClr val="00A7E0"/>
      </a:accent1>
      <a:accent2>
        <a:srgbClr val="009BA4"/>
      </a:accent2>
      <a:accent3>
        <a:srgbClr val="65B32E"/>
      </a:accent3>
      <a:accent4>
        <a:srgbClr val="F59C00"/>
      </a:accent4>
      <a:accent5>
        <a:srgbClr val="E84E0F"/>
      </a:accent5>
      <a:accent6>
        <a:srgbClr val="E50056"/>
      </a:accent6>
      <a:hlink>
        <a:srgbClr val="C82285"/>
      </a:hlink>
      <a:folHlink>
        <a:srgbClr val="D56AA6"/>
      </a:folHlink>
    </a:clrScheme>
    <a:fontScheme name="Süwag">
      <a:majorFont>
        <a:latin typeface="Innogy Medium"/>
        <a:ea typeface=""/>
        <a:cs typeface=""/>
      </a:majorFont>
      <a:minorFont>
        <a:latin typeface="Innog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600"/>
          </a:spcAft>
          <a:defRPr dirty="0" err="1" smtClean="0"/>
        </a:defPPr>
      </a:lstStyle>
    </a:txDef>
  </a:objectDefaults>
  <a:extraClrSchemeLst/>
  <a:custClrLst>
    <a:custClr name="Bischofsrot">
      <a:srgbClr val="D56AA6"/>
    </a:custClr>
    <a:custClr name="Altrosa">
      <a:srgbClr val="F1919C"/>
    </a:custClr>
    <a:custClr name="Kerzengelb">
      <a:srgbClr val="F5A26C"/>
    </a:custClr>
    <a:custClr name="Orientgelb">
      <a:srgbClr val="FDC75F"/>
    </a:custClr>
    <a:custClr name="Fasergrün">
      <a:srgbClr val="C7D540"/>
    </a:custClr>
    <a:custClr name="Arktisgrün">
      <a:srgbClr val="52BBB5"/>
    </a:custClr>
    <a:custClr name="Karibikblau">
      <a:srgbClr val="7CCEF4"/>
    </a:custClr>
    <a:custClr name="BLANK">
      <a:srgbClr val="FFFFFF"/>
    </a:custClr>
    <a:custClr name="BLANK">
      <a:srgbClr val="FFFFFF"/>
    </a:custClr>
    <a:custClr name="BLANK">
      <a:srgbClr val="FFFFFF"/>
    </a:custClr>
    <a:custClr name="Brilliantkarmin">
      <a:srgbClr val="C82285"/>
    </a:custClr>
    <a:custClr name="Erdbeerrot">
      <a:srgbClr val="E50056"/>
    </a:custClr>
    <a:custClr name="Verkehrsorange">
      <a:srgbClr val="E84E0F"/>
    </a:custClr>
    <a:custClr name="Dahliengelb">
      <a:srgbClr val="F59C00"/>
    </a:custClr>
    <a:custClr name="Leuchtendgrün">
      <a:srgbClr val="65B32E"/>
    </a:custClr>
    <a:custClr name="Indiablau">
      <a:srgbClr val="009BA4"/>
    </a:custClr>
    <a:custClr name="Alpenblau">
      <a:srgbClr val="00A7E0"/>
    </a:custClr>
    <a:custClr name="BLANK">
      <a:srgbClr val="FFFFFF"/>
    </a:custClr>
    <a:custClr name="BLANK">
      <a:srgbClr val="FFFFFF"/>
    </a:custClr>
    <a:custClr name="BLANK">
      <a:srgbClr val="FFFFFF"/>
    </a:custClr>
    <a:custClr name="Sommergelb">
      <a:srgbClr val="FDC300"/>
    </a:custClr>
    <a:custClr name="Quartzgrau75%">
      <a:srgbClr val="6A6562"/>
    </a:custClr>
    <a:custClr name="Quartzgrau75%">
      <a:srgbClr val="938E8C"/>
    </a:custClr>
    <a:custClr name="Quartzgrau50%">
      <a:srgbClr val="BAB5B3"/>
    </a:custClr>
    <a:custClr name="Quartzgrau25%">
      <a:srgbClr val="DDDBDA"/>
    </a:custClr>
    <a:custClr name="Quartzgrau10%">
      <a:srgbClr val="F6F4F4"/>
    </a:custClr>
  </a:custClrLst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80327d2-9bcf-4d63-bdf6-45ed5b784fbe">
      <Terms xmlns="http://schemas.microsoft.com/office/infopath/2007/PartnerControls"/>
    </lcf76f155ced4ddcb4097134ff3c332f>
    <TaxCatchAll xmlns="db248fd8-e165-4f99-b23a-4cae62ffac4d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4BA934EB965F544BB0A8511BAB83199" ma:contentTypeVersion="12" ma:contentTypeDescription="Ein neues Dokument erstellen." ma:contentTypeScope="" ma:versionID="95c1a174602209156f6c6d10854858d2">
  <xsd:schema xmlns:xsd="http://www.w3.org/2001/XMLSchema" xmlns:xs="http://www.w3.org/2001/XMLSchema" xmlns:p="http://schemas.microsoft.com/office/2006/metadata/properties" xmlns:ns2="980327d2-9bcf-4d63-bdf6-45ed5b784fbe" xmlns:ns3="db248fd8-e165-4f99-b23a-4cae62ffac4d" targetNamespace="http://schemas.microsoft.com/office/2006/metadata/properties" ma:root="true" ma:fieldsID="339767665d41790488ad63012a69d973" ns2:_="" ns3:_="">
    <xsd:import namespace="980327d2-9bcf-4d63-bdf6-45ed5b784fbe"/>
    <xsd:import namespace="db248fd8-e165-4f99-b23a-4cae62ffac4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0327d2-9bcf-4d63-bdf6-45ed5b784f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2a384301-12d8-40d1-b5dd-b1c34ec8acf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248fd8-e165-4f99-b23a-4cae62ffac4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faa3cdb4-5db6-44e9-b89b-e4bf9460166f}" ma:internalName="TaxCatchAll" ma:showField="CatchAllData" ma:web="db248fd8-e165-4f99-b23a-4cae62ffac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F69DF4D-31F7-4EC5-A693-30CD7CE83343}">
  <ds:schemaRefs>
    <ds:schemaRef ds:uri="3645c14b-54f6-4d5f-bcb6-bd49230bf7c7"/>
    <ds:schemaRef ds:uri="980327d2-9bcf-4d63-bdf6-45ed5b784fbe"/>
    <ds:schemaRef ds:uri="af69abdb-2309-43b7-bc3a-1e4026870cca"/>
    <ds:schemaRef ds:uri="db248fd8-e165-4f99-b23a-4cae62ffac4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B38BA4C-19C6-4483-8D09-800AE26BC090}">
  <ds:schemaRefs>
    <ds:schemaRef ds:uri="980327d2-9bcf-4d63-bdf6-45ed5b784fbe"/>
    <ds:schemaRef ds:uri="db248fd8-e165-4f99-b23a-4cae62ffac4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9CB2F1D-372C-4770-997F-4D92CDD70EDF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2a50b761-2746-49ee-991c-7c7bf13f8cf7}" enabled="0" method="" siteId="{2a50b761-2746-49ee-991c-7c7bf13f8cf7}" removed="1"/>
  <clbl:label id="{42f063bf-ce3a-473c-8609-3866002c85b0}" enabled="1" method="Standard" siteId="{b914a242-e718-443b-a47c-6b4c649d8c0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08</Words>
  <Application>Microsoft Office PowerPoint</Application>
  <PresentationFormat>Breitbild</PresentationFormat>
  <Paragraphs>347</Paragraphs>
  <Slides>29</Slides>
  <Notes>18</Notes>
  <HiddenSlides>5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7" baseType="lpstr">
      <vt:lpstr>Innogy Medium</vt:lpstr>
      <vt:lpstr>Wingdings</vt:lpstr>
      <vt:lpstr>Symbol</vt:lpstr>
      <vt:lpstr>Innogy</vt:lpstr>
      <vt:lpstr>MS PGothic</vt:lpstr>
      <vt:lpstr>Arial</vt:lpstr>
      <vt:lpstr>Ubuntu</vt:lpstr>
      <vt:lpstr>SYNA GmbH Template 2025</vt:lpstr>
      <vt:lpstr>PowerPoint-Präsentation</vt:lpstr>
      <vt:lpstr>Agenda</vt:lpstr>
      <vt:lpstr>PowerPoint-Präsentation</vt:lpstr>
      <vt:lpstr>Wärme entscheidet über Erfolg der Energiewende Der große Hebel für Klimaschutz und zukünftige Energiekosten</vt:lpstr>
      <vt:lpstr>Wärmeplanung ist Pflicht und schafft Orientierung Ab 2028 braucht jede Kommune einen Wärmeplan</vt:lpstr>
      <vt:lpstr>Die KWP zeigt Wege auf, verpflichtet aber nicht! Keine Umsetzungspflicht aber klare Orientierung</vt:lpstr>
      <vt:lpstr>GEG-Pflichten betreffen Neubauten &amp; Tausch Der Bestand bleibt vorerst unberührt</vt:lpstr>
      <vt:lpstr>Aussicht Gebäudemodernisierungsgesetz Was ändert sich zum GEG?</vt:lpstr>
      <vt:lpstr>Folgen der kommunalen Wärmeplanung Was passiert durch die Verabschiedung?</vt:lpstr>
      <vt:lpstr>PowerPoint-Präsentation</vt:lpstr>
      <vt:lpstr>Zielsetzung der Bestandsanalyse Wieviel wird heute wie in welchen Gebäuden geheizt?</vt:lpstr>
      <vt:lpstr>Ergebnisse der Bestandsanalyse Endenergieverbrauch Wärme nach Energieträger und Sektoren</vt:lpstr>
      <vt:lpstr>Fazit der Bestandsanalyse Drei Erkenntnisse aus den Daten der heutigen Versorgung</vt:lpstr>
      <vt:lpstr>Zielsetzung der Potenzialanalyse Welche Potenziale sind in welcher Größenordnung lokal vorhanden?</vt:lpstr>
      <vt:lpstr>Verschiedene Arten von Potenzialen Was kann in der Wärmeplanung geleistet werden?</vt:lpstr>
      <vt:lpstr>Welche Wärmequellen haben wir untersucht? Grundlage für die Ableitung sinnvoller Versorgungsoptionen</vt:lpstr>
      <vt:lpstr>Welche Potenziale bleiben übrig? Fokus auf Wärmequellen mit realistischem Beitrag für Eschelbronn</vt:lpstr>
      <vt:lpstr>Fazit der Potenzialanalyse Die wichtigsten Schlussfolgerungen für die weitere Planung</vt:lpstr>
      <vt:lpstr>PowerPoint-Präsentation</vt:lpstr>
      <vt:lpstr>Zielsetzung des Zielszenarios Wie kann sich der Heizsektor zukünftig transformieren?</vt:lpstr>
      <vt:lpstr>PowerPoint-Präsentation</vt:lpstr>
      <vt:lpstr>Simulation der Entwicklung bis 2040 Schrittweise Transformation der Wärmeversorgung bis zum Zieljahr</vt:lpstr>
      <vt:lpstr>Fazit des Entwicklungspfad &amp; Zielszenario Wesentliche Erkenntnisse und Fokusbereiche im Überblick  </vt:lpstr>
      <vt:lpstr>PowerPoint-Präsentation</vt:lpstr>
      <vt:lpstr>Maßnahmenkatalog Übersicht der zusammengestellten Maßnahmen</vt:lpstr>
      <vt:lpstr>Beteiligung während des Planprozesses Wie wurden Akteure einbezogen?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na Stellwagen | FEUEREIFER</dc:creator>
  <cp:lastModifiedBy>Hiltl, Georg</cp:lastModifiedBy>
  <cp:revision>1</cp:revision>
  <dcterms:created xsi:type="dcterms:W3CDTF">2024-11-08T09:18:53Z</dcterms:created>
  <dcterms:modified xsi:type="dcterms:W3CDTF">2026-03-18T21:1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64BA934EB965F544BB0A8511BAB83199</vt:lpwstr>
  </property>
</Properties>
</file>